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notesSlides/notesSlide8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5" r:id="rId2"/>
    <p:sldMasterId id="2147483686" r:id="rId3"/>
    <p:sldMasterId id="2147483707" r:id="rId4"/>
  </p:sldMasterIdLst>
  <p:notesMasterIdLst>
    <p:notesMasterId r:id="rId15"/>
  </p:notesMasterIdLst>
  <p:sldIdLst>
    <p:sldId id="257" r:id="rId5"/>
    <p:sldId id="271" r:id="rId6"/>
    <p:sldId id="311" r:id="rId7"/>
    <p:sldId id="273" r:id="rId8"/>
    <p:sldId id="274" r:id="rId9"/>
    <p:sldId id="312" r:id="rId10"/>
    <p:sldId id="313" r:id="rId11"/>
    <p:sldId id="314" r:id="rId12"/>
    <p:sldId id="315" r:id="rId13"/>
    <p:sldId id="270" r:id="rId14"/>
  </p:sldIdLst>
  <p:sldSz cx="12192000" cy="6858000"/>
  <p:notesSz cx="6858000" cy="9144000"/>
  <p:defaultTextStyle>
    <a:defPPr>
      <a:defRPr lang="es-V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6BC2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5914" autoAdjust="0"/>
    <p:restoredTop sz="93848" autoAdjust="0"/>
  </p:normalViewPr>
  <p:slideViewPr>
    <p:cSldViewPr snapToGrid="0">
      <p:cViewPr varScale="1">
        <p:scale>
          <a:sx n="64" d="100"/>
          <a:sy n="64" d="100"/>
        </p:scale>
        <p:origin x="332" y="3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0" d="100"/>
          <a:sy n="50" d="100"/>
        </p:scale>
        <p:origin x="2636" y="2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CB4-4E07-AA24-B808C497FDE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CB4-4E07-AA24-B808C497FDED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ACB4-4E07-AA24-B808C497FDED}"/>
              </c:ext>
            </c:extLst>
          </c:dPt>
          <c:dPt>
            <c:idx val="3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ACB4-4E07-AA24-B808C497FDED}"/>
              </c:ext>
            </c:extLst>
          </c:dPt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3</c:v>
                </c:pt>
                <c:pt idx="1">
                  <c:v>0.3</c:v>
                </c:pt>
                <c:pt idx="2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CB4-4E07-AA24-B808C497FD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5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s-VE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image" Target="../media/image7.wmf"/></Relationships>
</file>

<file path=ppt/drawings/_rels/vmlDrawing6.vml.rels><?xml version="1.0" encoding="UTF-8" standalone="yes"?>
<Relationships xmlns="http://schemas.openxmlformats.org/package/2006/relationships"><Relationship Id="rId3" Type="http://schemas.openxmlformats.org/officeDocument/2006/relationships/image" Target="../media/image12.wmf"/><Relationship Id="rId2" Type="http://schemas.openxmlformats.org/officeDocument/2006/relationships/image" Target="../media/image11.wmf"/><Relationship Id="rId1" Type="http://schemas.openxmlformats.org/officeDocument/2006/relationships/image" Target="../media/image10.wmf"/></Relationships>
</file>

<file path=ppt/drawings/_rels/vmlDrawing7.vml.rels><?xml version="1.0" encoding="UTF-8" standalone="yes"?>
<Relationships xmlns="http://schemas.openxmlformats.org/package/2006/relationships"><Relationship Id="rId3" Type="http://schemas.openxmlformats.org/officeDocument/2006/relationships/image" Target="../media/image15.wmf"/><Relationship Id="rId2" Type="http://schemas.openxmlformats.org/officeDocument/2006/relationships/image" Target="../media/image14.wmf"/><Relationship Id="rId1" Type="http://schemas.openxmlformats.org/officeDocument/2006/relationships/image" Target="../media/image13.wmf"/></Relationships>
</file>

<file path=ppt/drawings/_rels/vmlDrawing8.vml.rels><?xml version="1.0" encoding="UTF-8" standalone="yes"?>
<Relationships xmlns="http://schemas.openxmlformats.org/package/2006/relationships"><Relationship Id="rId3" Type="http://schemas.openxmlformats.org/officeDocument/2006/relationships/image" Target="../media/image18.wmf"/><Relationship Id="rId2" Type="http://schemas.openxmlformats.org/officeDocument/2006/relationships/image" Target="../media/image17.wmf"/><Relationship Id="rId1" Type="http://schemas.openxmlformats.org/officeDocument/2006/relationships/image" Target="../media/image16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V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3C7654-0751-4E48-9771-865DA850A39B}" type="datetimeFigureOut">
              <a:rPr lang="es-VE" smtClean="0"/>
              <a:t>28/10/2021</a:t>
            </a:fld>
            <a:endParaRPr lang="es-V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V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V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V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B0229F-3F2D-4732-9383-CD3867F162EA}" type="slidenum">
              <a:rPr lang="es-VE" smtClean="0"/>
              <a:t>‹#›</a:t>
            </a:fld>
            <a:endParaRPr lang="es-VE"/>
          </a:p>
        </p:txBody>
      </p:sp>
    </p:spTree>
    <p:extLst>
      <p:ext uri="{BB962C8B-B14F-4D97-AF65-F5344CB8AC3E}">
        <p14:creationId xmlns:p14="http://schemas.microsoft.com/office/powerpoint/2010/main" val="13039968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06108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43315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47044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51380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27494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30025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24715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23821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89794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95117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410189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1" y="402586"/>
            <a:ext cx="91630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69901" y="1700213"/>
            <a:ext cx="9163049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80973619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4492938" cy="4622507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5154613" y="1656000"/>
            <a:ext cx="4478337" cy="4631795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6524054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154613" y="1700213"/>
            <a:ext cx="4478337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1665290"/>
            <a:ext cx="4491038" cy="4633911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2454639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2" y="1705668"/>
            <a:ext cx="9163049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29000"/>
            <a:ext cx="91630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6474638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163050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997515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1" y="2054581"/>
            <a:ext cx="916495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1" y="1659816"/>
            <a:ext cx="9164950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0"/>
            <a:ext cx="916495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49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49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80377698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5154612" y="2125013"/>
            <a:ext cx="4478338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5154613" y="1644503"/>
            <a:ext cx="4478338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1" y="2125013"/>
            <a:ext cx="449103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9" y="1655763"/>
            <a:ext cx="4491037" cy="409427"/>
          </a:xfrm>
        </p:spPr>
        <p:txBody>
          <a:bodyPr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0"/>
            <a:ext cx="9164949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4948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4948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28720308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55762"/>
            <a:ext cx="4491038" cy="4327027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5154613" y="2125014"/>
            <a:ext cx="4478337" cy="3857776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5154613" y="1655763"/>
            <a:ext cx="4478337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0"/>
            <a:ext cx="916305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28387862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3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79417" y="2051998"/>
            <a:ext cx="2924184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79417" y="1659145"/>
            <a:ext cx="2924184" cy="373803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598574" y="2051998"/>
            <a:ext cx="2919701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598574" y="1659145"/>
            <a:ext cx="2919701" cy="373803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716569" y="2051998"/>
            <a:ext cx="2916382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716569" y="1659145"/>
            <a:ext cx="2916382" cy="37966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0"/>
            <a:ext cx="9164950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1" y="402586"/>
            <a:ext cx="916305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25678204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6711950" y="1626099"/>
            <a:ext cx="2921000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55763"/>
            <a:ext cx="6048375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6922592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1122011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69900" y="1703863"/>
            <a:ext cx="449103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449103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141914" y="1703863"/>
            <a:ext cx="449103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5141914" y="4065173"/>
            <a:ext cx="449103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 userDrawn="1">
            <p:ph type="pic" sz="quarter" idx="25"/>
          </p:nvPr>
        </p:nvSpPr>
        <p:spPr>
          <a:xfrm>
            <a:off x="481597" y="1867018"/>
            <a:ext cx="1364665" cy="1025821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 userDrawn="1">
            <p:ph type="pic" sz="quarter" idx="27"/>
          </p:nvPr>
        </p:nvSpPr>
        <p:spPr>
          <a:xfrm>
            <a:off x="5153610" y="1867018"/>
            <a:ext cx="1364665" cy="1025821"/>
          </a:xfrm>
        </p:spPr>
        <p:txBody>
          <a:bodyPr/>
          <a:lstStyle>
            <a:lvl1pPr algn="ctr">
              <a:defRPr lang="en-US" noProof="0" dirty="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 userDrawn="1">
            <p:ph type="pic" sz="quarter" idx="29"/>
          </p:nvPr>
        </p:nvSpPr>
        <p:spPr>
          <a:xfrm>
            <a:off x="481597" y="4243017"/>
            <a:ext cx="1364665" cy="1025821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 userDrawn="1">
            <p:ph type="pic" sz="quarter" idx="31"/>
          </p:nvPr>
        </p:nvSpPr>
        <p:spPr>
          <a:xfrm>
            <a:off x="5153610" y="4243017"/>
            <a:ext cx="1364665" cy="1025821"/>
          </a:xfrm>
        </p:spPr>
        <p:txBody>
          <a:bodyPr/>
          <a:lstStyle>
            <a:lvl1pPr algn="ctr">
              <a:defRPr lang="en-US" noProof="0" dirty="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 userDrawn="1">
            <p:ph type="body" sz="quarter" idx="32"/>
          </p:nvPr>
        </p:nvSpPr>
        <p:spPr>
          <a:xfrm>
            <a:off x="2041945" y="1867018"/>
            <a:ext cx="2918993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 userDrawn="1">
            <p:ph type="body" sz="quarter" idx="33"/>
          </p:nvPr>
        </p:nvSpPr>
        <p:spPr>
          <a:xfrm>
            <a:off x="6711951" y="1867018"/>
            <a:ext cx="2920999" cy="1944000"/>
          </a:xfrm>
        </p:spPr>
        <p:txBody>
          <a:bodyPr/>
          <a:lstStyle>
            <a:lvl1pPr>
              <a:spcAft>
                <a:spcPts val="0"/>
              </a:spcAft>
              <a:defRPr lang="en-US" noProof="0" dirty="0" smtClean="0"/>
            </a:lvl1pPr>
            <a:lvl2pPr>
              <a:spcAft>
                <a:spcPts val="0"/>
              </a:spcAft>
              <a:defRPr lang="en-US" noProof="0" dirty="0" smtClean="0"/>
            </a:lvl2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 userDrawn="1">
            <p:ph type="body" sz="quarter" idx="34"/>
          </p:nvPr>
        </p:nvSpPr>
        <p:spPr>
          <a:xfrm>
            <a:off x="2041945" y="4243017"/>
            <a:ext cx="2918993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 userDrawn="1">
            <p:ph type="body" sz="quarter" idx="35"/>
          </p:nvPr>
        </p:nvSpPr>
        <p:spPr>
          <a:xfrm>
            <a:off x="6711951" y="4243017"/>
            <a:ext cx="2920999" cy="1944000"/>
          </a:xfrm>
        </p:spPr>
        <p:txBody>
          <a:bodyPr/>
          <a:lstStyle>
            <a:lvl1pPr>
              <a:spcAft>
                <a:spcPts val="0"/>
              </a:spcAft>
              <a:defRPr lang="en-US" noProof="0" smtClean="0"/>
            </a:lvl1pPr>
            <a:lvl2pPr>
              <a:spcAft>
                <a:spcPts val="0"/>
              </a:spcAft>
              <a:defRPr lang="en-US" noProof="0" smtClean="0"/>
            </a:lvl2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 userDrawn="1"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18204346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84634" y="1851441"/>
            <a:ext cx="2933641" cy="3845755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81229" y="1851441"/>
            <a:ext cx="2922371" cy="3845755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18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360000" indent="-180000">
              <a:spcBef>
                <a:spcPts val="600"/>
              </a:spcBef>
              <a:spcAft>
                <a:spcPts val="600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718313" y="1851441"/>
            <a:ext cx="2914638" cy="3845755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584576" y="1705968"/>
            <a:ext cx="296147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81755" y="1705968"/>
            <a:ext cx="2932534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714983" y="1705968"/>
            <a:ext cx="291769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4188801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8108" y="2386260"/>
            <a:ext cx="2142149" cy="373428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18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360000" indent="-180000">
              <a:spcBef>
                <a:spcPts val="600"/>
              </a:spcBef>
              <a:spcAft>
                <a:spcPts val="600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7503501" y="2386260"/>
            <a:ext cx="2142149" cy="373428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826572" y="2386260"/>
            <a:ext cx="2142149" cy="373428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5165036" y="2386260"/>
            <a:ext cx="2142149" cy="373428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757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757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28566270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473843"/>
            <a:ext cx="3067973" cy="153275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400" b="1">
                <a:solidFill>
                  <a:schemeClr val="tx1"/>
                </a:solidFill>
              </a:defRPr>
            </a:lvl1pPr>
            <a:lvl2pPr marL="0" indent="0" algn="l">
              <a:buNone/>
              <a:defRPr sz="20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4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278525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5206055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0104438" cy="6858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473843"/>
            <a:ext cx="5260311" cy="153275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400" b="1">
                <a:solidFill>
                  <a:schemeClr val="bg1"/>
                </a:solidFill>
              </a:defRPr>
            </a:lvl1pPr>
            <a:lvl2pPr marL="0" indent="0" algn="l">
              <a:buNone/>
              <a:defRPr sz="20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30635427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1" y="1665818"/>
            <a:ext cx="916305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defRPr/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99243517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1665291"/>
            <a:ext cx="9163050" cy="463391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1807136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24146007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1" y="402586"/>
            <a:ext cx="91630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04187964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1" y="402586"/>
            <a:ext cx="91630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10104438" y="0"/>
            <a:ext cx="2087562" cy="6858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9885505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360157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1" y="402586"/>
            <a:ext cx="91630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69901" y="1700213"/>
            <a:ext cx="9163049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40710738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4492938" cy="4622507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5154613" y="1656000"/>
            <a:ext cx="4478337" cy="4631795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41970853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154613" y="1700213"/>
            <a:ext cx="4478337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1665290"/>
            <a:ext cx="4491038" cy="4633911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98342592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2" y="1705668"/>
            <a:ext cx="9163049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29000"/>
            <a:ext cx="91630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807139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163050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415800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1" y="2054581"/>
            <a:ext cx="916495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1" y="1659816"/>
            <a:ext cx="9164950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0"/>
            <a:ext cx="916495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49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49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10812747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5154612" y="2125013"/>
            <a:ext cx="4478338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5154613" y="1644503"/>
            <a:ext cx="4478338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1" y="2125013"/>
            <a:ext cx="449103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9" y="1655763"/>
            <a:ext cx="4491037" cy="409427"/>
          </a:xfrm>
        </p:spPr>
        <p:txBody>
          <a:bodyPr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0"/>
            <a:ext cx="9164949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4948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4948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04540595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55762"/>
            <a:ext cx="4491038" cy="4327027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5154613" y="2125014"/>
            <a:ext cx="4478337" cy="3857776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5154613" y="1655763"/>
            <a:ext cx="4478337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0"/>
            <a:ext cx="916305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9865761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3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79417" y="2051998"/>
            <a:ext cx="2924184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79417" y="1659145"/>
            <a:ext cx="2924184" cy="373803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598574" y="2051998"/>
            <a:ext cx="2919701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598574" y="1659145"/>
            <a:ext cx="2919701" cy="373803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716569" y="2051998"/>
            <a:ext cx="2916382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716569" y="1659145"/>
            <a:ext cx="2916382" cy="37966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0"/>
            <a:ext cx="9164950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1" y="402586"/>
            <a:ext cx="916305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55969834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6711950" y="1626099"/>
            <a:ext cx="2921000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55763"/>
            <a:ext cx="6048375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VE"/>
          </a:p>
        </p:txBody>
      </p:sp>
    </p:spTree>
    <p:extLst>
      <p:ext uri="{BB962C8B-B14F-4D97-AF65-F5344CB8AC3E}">
        <p14:creationId xmlns:p14="http://schemas.microsoft.com/office/powerpoint/2010/main" val="3011030496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6548300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69900" y="1703863"/>
            <a:ext cx="449103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449103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141914" y="1703863"/>
            <a:ext cx="449103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5141914" y="4065173"/>
            <a:ext cx="449103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 userDrawn="1">
            <p:ph type="pic" sz="quarter" idx="25"/>
          </p:nvPr>
        </p:nvSpPr>
        <p:spPr>
          <a:xfrm>
            <a:off x="481597" y="1867018"/>
            <a:ext cx="1364665" cy="1025821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 userDrawn="1">
            <p:ph type="pic" sz="quarter" idx="27"/>
          </p:nvPr>
        </p:nvSpPr>
        <p:spPr>
          <a:xfrm>
            <a:off x="5153610" y="1867018"/>
            <a:ext cx="1364665" cy="1025821"/>
          </a:xfrm>
        </p:spPr>
        <p:txBody>
          <a:bodyPr/>
          <a:lstStyle>
            <a:lvl1pPr algn="ctr">
              <a:defRPr lang="en-US" noProof="0" dirty="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 userDrawn="1">
            <p:ph type="pic" sz="quarter" idx="29"/>
          </p:nvPr>
        </p:nvSpPr>
        <p:spPr>
          <a:xfrm>
            <a:off x="481597" y="4243017"/>
            <a:ext cx="1364665" cy="1025821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 userDrawn="1">
            <p:ph type="pic" sz="quarter" idx="31"/>
          </p:nvPr>
        </p:nvSpPr>
        <p:spPr>
          <a:xfrm>
            <a:off x="5153610" y="4243017"/>
            <a:ext cx="1364665" cy="1025821"/>
          </a:xfrm>
        </p:spPr>
        <p:txBody>
          <a:bodyPr/>
          <a:lstStyle>
            <a:lvl1pPr algn="ctr">
              <a:defRPr lang="en-US" noProof="0" dirty="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 userDrawn="1">
            <p:ph type="body" sz="quarter" idx="32"/>
          </p:nvPr>
        </p:nvSpPr>
        <p:spPr>
          <a:xfrm>
            <a:off x="2041945" y="1867018"/>
            <a:ext cx="2918993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 userDrawn="1">
            <p:ph type="body" sz="quarter" idx="33"/>
          </p:nvPr>
        </p:nvSpPr>
        <p:spPr>
          <a:xfrm>
            <a:off x="6711951" y="1867018"/>
            <a:ext cx="2920999" cy="1944000"/>
          </a:xfrm>
        </p:spPr>
        <p:txBody>
          <a:bodyPr/>
          <a:lstStyle>
            <a:lvl1pPr>
              <a:spcAft>
                <a:spcPts val="0"/>
              </a:spcAft>
              <a:defRPr lang="en-US" noProof="0" dirty="0" smtClean="0"/>
            </a:lvl1pPr>
            <a:lvl2pPr>
              <a:spcAft>
                <a:spcPts val="0"/>
              </a:spcAft>
              <a:defRPr lang="en-US" noProof="0" dirty="0" smtClean="0"/>
            </a:lvl2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 userDrawn="1">
            <p:ph type="body" sz="quarter" idx="34"/>
          </p:nvPr>
        </p:nvSpPr>
        <p:spPr>
          <a:xfrm>
            <a:off x="2041945" y="4243017"/>
            <a:ext cx="2918993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 userDrawn="1">
            <p:ph type="body" sz="quarter" idx="35"/>
          </p:nvPr>
        </p:nvSpPr>
        <p:spPr>
          <a:xfrm>
            <a:off x="6711951" y="4243017"/>
            <a:ext cx="2920999" cy="1944000"/>
          </a:xfrm>
        </p:spPr>
        <p:txBody>
          <a:bodyPr/>
          <a:lstStyle>
            <a:lvl1pPr>
              <a:spcAft>
                <a:spcPts val="0"/>
              </a:spcAft>
              <a:defRPr lang="en-US" noProof="0" smtClean="0"/>
            </a:lvl1pPr>
            <a:lvl2pPr>
              <a:spcAft>
                <a:spcPts val="0"/>
              </a:spcAft>
              <a:defRPr lang="en-US" noProof="0" smtClean="0"/>
            </a:lvl2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 userDrawn="1"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79457315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84634" y="1851441"/>
            <a:ext cx="2933641" cy="3845755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81229" y="1851441"/>
            <a:ext cx="2922371" cy="3845755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18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360000" indent="-180000">
              <a:spcBef>
                <a:spcPts val="600"/>
              </a:spcBef>
              <a:spcAft>
                <a:spcPts val="600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718313" y="1851441"/>
            <a:ext cx="2914638" cy="3845755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584576" y="1705968"/>
            <a:ext cx="296147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81755" y="1705968"/>
            <a:ext cx="2932534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714983" y="1705968"/>
            <a:ext cx="291769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3829209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8108" y="2386260"/>
            <a:ext cx="2142149" cy="373428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18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360000" indent="-180000">
              <a:spcBef>
                <a:spcPts val="600"/>
              </a:spcBef>
              <a:spcAft>
                <a:spcPts val="600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7503501" y="2386260"/>
            <a:ext cx="2142149" cy="373428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826572" y="2386260"/>
            <a:ext cx="2142149" cy="373428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5165036" y="2386260"/>
            <a:ext cx="2142149" cy="373428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757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757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73964437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473843"/>
            <a:ext cx="3067973" cy="153275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400" b="1">
                <a:solidFill>
                  <a:schemeClr val="tx1"/>
                </a:solidFill>
              </a:defRPr>
            </a:lvl1pPr>
            <a:lvl2pPr marL="0" indent="0" algn="l">
              <a:buNone/>
              <a:defRPr sz="20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4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278525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940741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0104438" cy="6858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473843"/>
            <a:ext cx="5260311" cy="153275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400" b="1">
                <a:solidFill>
                  <a:schemeClr val="bg1"/>
                </a:solidFill>
              </a:defRPr>
            </a:lvl1pPr>
            <a:lvl2pPr marL="0" indent="0" algn="l">
              <a:buNone/>
              <a:defRPr sz="20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59301083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1" y="1665818"/>
            <a:ext cx="916305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defRPr/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17924694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1665291"/>
            <a:ext cx="9163050" cy="463391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69534927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50847672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1" y="402586"/>
            <a:ext cx="91630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97739562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1" y="402586"/>
            <a:ext cx="91630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10104438" y="0"/>
            <a:ext cx="2087562" cy="6858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960323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1" y="1665818"/>
            <a:ext cx="916305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defRPr/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5613993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1" y="402586"/>
            <a:ext cx="91630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69901" y="1700213"/>
            <a:ext cx="9163049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97255207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4492938" cy="4622507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5154613" y="1656000"/>
            <a:ext cx="4478337" cy="4631795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53151046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154613" y="1700213"/>
            <a:ext cx="4478337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1665290"/>
            <a:ext cx="4491038" cy="4633911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99083887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2" y="1705668"/>
            <a:ext cx="9163049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29000"/>
            <a:ext cx="91630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472808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163050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06146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1" y="2054581"/>
            <a:ext cx="916495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1" y="1659816"/>
            <a:ext cx="9164950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0"/>
            <a:ext cx="916495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49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49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4221385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5154612" y="2125013"/>
            <a:ext cx="4478338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5154613" y="1644503"/>
            <a:ext cx="4478338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1" y="2125013"/>
            <a:ext cx="449103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9" y="1655763"/>
            <a:ext cx="4491037" cy="409427"/>
          </a:xfrm>
        </p:spPr>
        <p:txBody>
          <a:bodyPr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0"/>
            <a:ext cx="9164949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4948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4948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7272839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55762"/>
            <a:ext cx="4491038" cy="4327027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5154613" y="2125014"/>
            <a:ext cx="4478337" cy="3857776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5154613" y="1655763"/>
            <a:ext cx="4478337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0"/>
            <a:ext cx="916305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08171503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3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79417" y="2051998"/>
            <a:ext cx="2924184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79417" y="1659145"/>
            <a:ext cx="2924184" cy="373803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598574" y="2051998"/>
            <a:ext cx="2919701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598574" y="1659145"/>
            <a:ext cx="2919701" cy="373803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716569" y="2051998"/>
            <a:ext cx="2916382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716569" y="1659145"/>
            <a:ext cx="2916382" cy="37966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0"/>
            <a:ext cx="9164950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1" y="402586"/>
            <a:ext cx="916305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63411161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6711950" y="1626099"/>
            <a:ext cx="2921000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55763"/>
            <a:ext cx="6048375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3030355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1665291"/>
            <a:ext cx="9163050" cy="463391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9363490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69900" y="1703863"/>
            <a:ext cx="449103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449103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141914" y="1703863"/>
            <a:ext cx="449103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5141914" y="4065173"/>
            <a:ext cx="449103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 userDrawn="1">
            <p:ph type="pic" sz="quarter" idx="25"/>
          </p:nvPr>
        </p:nvSpPr>
        <p:spPr>
          <a:xfrm>
            <a:off x="481597" y="1867018"/>
            <a:ext cx="1364665" cy="1025821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 userDrawn="1">
            <p:ph type="pic" sz="quarter" idx="27"/>
          </p:nvPr>
        </p:nvSpPr>
        <p:spPr>
          <a:xfrm>
            <a:off x="5153610" y="1867018"/>
            <a:ext cx="1364665" cy="1025821"/>
          </a:xfrm>
        </p:spPr>
        <p:txBody>
          <a:bodyPr/>
          <a:lstStyle>
            <a:lvl1pPr algn="ctr">
              <a:defRPr lang="en-US" noProof="0" dirty="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 userDrawn="1">
            <p:ph type="pic" sz="quarter" idx="29"/>
          </p:nvPr>
        </p:nvSpPr>
        <p:spPr>
          <a:xfrm>
            <a:off x="481597" y="4243017"/>
            <a:ext cx="1364665" cy="1025821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 userDrawn="1">
            <p:ph type="pic" sz="quarter" idx="31"/>
          </p:nvPr>
        </p:nvSpPr>
        <p:spPr>
          <a:xfrm>
            <a:off x="5153610" y="4243017"/>
            <a:ext cx="1364665" cy="1025821"/>
          </a:xfrm>
        </p:spPr>
        <p:txBody>
          <a:bodyPr/>
          <a:lstStyle>
            <a:lvl1pPr algn="ctr">
              <a:defRPr lang="en-US" noProof="0" dirty="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 userDrawn="1">
            <p:ph type="body" sz="quarter" idx="32"/>
          </p:nvPr>
        </p:nvSpPr>
        <p:spPr>
          <a:xfrm>
            <a:off x="2041945" y="1867018"/>
            <a:ext cx="2918993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 userDrawn="1">
            <p:ph type="body" sz="quarter" idx="33"/>
          </p:nvPr>
        </p:nvSpPr>
        <p:spPr>
          <a:xfrm>
            <a:off x="6711951" y="1867018"/>
            <a:ext cx="2920999" cy="1944000"/>
          </a:xfrm>
        </p:spPr>
        <p:txBody>
          <a:bodyPr/>
          <a:lstStyle>
            <a:lvl1pPr>
              <a:spcAft>
                <a:spcPts val="0"/>
              </a:spcAft>
              <a:defRPr lang="en-US" noProof="0" dirty="0" smtClean="0"/>
            </a:lvl1pPr>
            <a:lvl2pPr>
              <a:spcAft>
                <a:spcPts val="0"/>
              </a:spcAft>
              <a:defRPr lang="en-US" noProof="0" dirty="0" smtClean="0"/>
            </a:lvl2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 userDrawn="1">
            <p:ph type="body" sz="quarter" idx="34"/>
          </p:nvPr>
        </p:nvSpPr>
        <p:spPr>
          <a:xfrm>
            <a:off x="2041945" y="4243017"/>
            <a:ext cx="2918993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 userDrawn="1">
            <p:ph type="body" sz="quarter" idx="35"/>
          </p:nvPr>
        </p:nvSpPr>
        <p:spPr>
          <a:xfrm>
            <a:off x="6711951" y="4243017"/>
            <a:ext cx="2920999" cy="1944000"/>
          </a:xfrm>
        </p:spPr>
        <p:txBody>
          <a:bodyPr/>
          <a:lstStyle>
            <a:lvl1pPr>
              <a:spcAft>
                <a:spcPts val="0"/>
              </a:spcAft>
              <a:defRPr lang="en-US" noProof="0" smtClean="0"/>
            </a:lvl1pPr>
            <a:lvl2pPr>
              <a:spcAft>
                <a:spcPts val="0"/>
              </a:spcAft>
              <a:defRPr lang="en-US" noProof="0" smtClean="0"/>
            </a:lvl2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 userDrawn="1"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95770571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84634" y="1851441"/>
            <a:ext cx="2933641" cy="3845755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81229" y="1851441"/>
            <a:ext cx="2922371" cy="3845755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18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360000" indent="-180000">
              <a:spcBef>
                <a:spcPts val="600"/>
              </a:spcBef>
              <a:spcAft>
                <a:spcPts val="600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718313" y="1851441"/>
            <a:ext cx="2914638" cy="3845755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584576" y="1705968"/>
            <a:ext cx="296147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81755" y="1705968"/>
            <a:ext cx="2932534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714983" y="1705968"/>
            <a:ext cx="291769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59242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8108" y="2386260"/>
            <a:ext cx="2142149" cy="373428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18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360000" indent="-180000">
              <a:spcBef>
                <a:spcPts val="600"/>
              </a:spcBef>
              <a:spcAft>
                <a:spcPts val="600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7503501" y="2386260"/>
            <a:ext cx="2142149" cy="373428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826572" y="2386260"/>
            <a:ext cx="2142149" cy="373428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5165036" y="2386260"/>
            <a:ext cx="2142149" cy="373428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757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757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41619500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473843"/>
            <a:ext cx="3067973" cy="153275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400" b="1">
                <a:solidFill>
                  <a:schemeClr val="tx1"/>
                </a:solidFill>
              </a:defRPr>
            </a:lvl1pPr>
            <a:lvl2pPr marL="0" indent="0" algn="l">
              <a:buNone/>
              <a:defRPr sz="20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4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278525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35338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0104438" cy="6858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473843"/>
            <a:ext cx="5260311" cy="153275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400" b="1">
                <a:solidFill>
                  <a:schemeClr val="bg1"/>
                </a:solidFill>
              </a:defRPr>
            </a:lvl1pPr>
            <a:lvl2pPr marL="0" indent="0" algn="l">
              <a:buNone/>
              <a:defRPr sz="20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56258211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75200" y="3240395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798657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89306748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1" y="402586"/>
            <a:ext cx="91630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14713383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1" y="402586"/>
            <a:ext cx="91630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10104438" y="0"/>
            <a:ext cx="2087562" cy="6858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7234725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22.xml"/><Relationship Id="rId26" Type="http://schemas.openxmlformats.org/officeDocument/2006/relationships/slide" Target="../slides/slide3.xml"/><Relationship Id="rId3" Type="http://schemas.openxmlformats.org/officeDocument/2006/relationships/slideLayout" Target="../slideLayouts/slideLayout7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21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6.xml"/><Relationship Id="rId16" Type="http://schemas.openxmlformats.org/officeDocument/2006/relationships/slideLayout" Target="../slideLayouts/slideLayout20.xml"/><Relationship Id="rId20" Type="http://schemas.openxmlformats.org/officeDocument/2006/relationships/slideLayout" Target="../slideLayouts/slideLayout24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24" Type="http://schemas.openxmlformats.org/officeDocument/2006/relationships/oleObject" Target="../embeddings/oleObject2.bin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4.xml"/><Relationship Id="rId19" Type="http://schemas.openxmlformats.org/officeDocument/2006/relationships/slideLayout" Target="../slideLayouts/slideLayout23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Relationship Id="rId22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slide" Target="../slides/slide6.xml"/><Relationship Id="rId3" Type="http://schemas.openxmlformats.org/officeDocument/2006/relationships/slideLayout" Target="../slideLayouts/slideLayout27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oleObject" Target="../embeddings/oleObject2.bin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vmlDrawing" Target="../drawings/vmlDrawing3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47.xml"/><Relationship Id="rId21" Type="http://schemas.openxmlformats.org/officeDocument/2006/relationships/slideLayout" Target="../slideLayouts/slideLayout65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5" Type="http://schemas.openxmlformats.org/officeDocument/2006/relationships/oleObject" Target="../embeddings/oleObject2.bin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0" Type="http://schemas.openxmlformats.org/officeDocument/2006/relationships/slideLayout" Target="../slideLayouts/slideLayout64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23" Type="http://schemas.openxmlformats.org/officeDocument/2006/relationships/vmlDrawing" Target="../drawings/vmlDrawing4.vml"/><Relationship Id="rId10" Type="http://schemas.openxmlformats.org/officeDocument/2006/relationships/slideLayout" Target="../slideLayouts/slideLayout54.xml"/><Relationship Id="rId19" Type="http://schemas.openxmlformats.org/officeDocument/2006/relationships/slideLayout" Target="../slideLayouts/slideLayout63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Relationship Id="rId22" Type="http://schemas.openxmlformats.org/officeDocument/2006/relationships/theme" Target="../theme/theme4.xml"/><Relationship Id="rId27" Type="http://schemas.openxmlformats.org/officeDocument/2006/relationships/slide" Target="../slides/slid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fr-FR" sz="650" noProof="0" dirty="0">
                <a:solidFill>
                  <a:schemeClr val="tx1"/>
                </a:solidFill>
              </a:rPr>
              <a:t>© 2016 </a:t>
            </a:r>
            <a:r>
              <a:rPr lang="fr-FR" sz="650" noProof="0" dirty="0" err="1">
                <a:solidFill>
                  <a:schemeClr val="tx1"/>
                </a:solidFill>
              </a:rPr>
              <a:t>ZAO</a:t>
            </a:r>
            <a:r>
              <a:rPr lang="fr-FR" sz="650" noProof="0" dirty="0">
                <a:solidFill>
                  <a:schemeClr val="tx1"/>
                </a:solidFill>
              </a:rPr>
              <a:t> Deloitte &amp; Touche CI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48730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088">
          <p15:clr>
            <a:srgbClr val="A4A3A4"/>
          </p15:clr>
        </p15:guide>
        <p15:guide id="2" orient="horz" pos="2160">
          <p15:clr>
            <a:srgbClr val="A4A3A4"/>
          </p15:clr>
        </p15:guide>
        <p15:guide id="3" orient="horz" pos="3968">
          <p15:clr>
            <a:srgbClr val="A4A3A4"/>
          </p15:clr>
        </p15:guide>
        <p15:guide id="4" pos="296">
          <p15:clr>
            <a:srgbClr val="A4A3A4"/>
          </p15:clr>
        </p15:guide>
        <p15:guide id="5" pos="7397">
          <p15:clr>
            <a:srgbClr val="A4A3A4"/>
          </p15:clr>
        </p15:guide>
        <p15:guide id="6" orient="horz" pos="1071">
          <p15:clr>
            <a:srgbClr val="A4A3A4"/>
          </p15:clr>
        </p15:guide>
        <p15:guide id="7" orient="horz" pos="245">
          <p15:clr>
            <a:srgbClr val="A4A3A4"/>
          </p15:clr>
        </p15:guide>
        <p15:guide id="8" orient="horz" pos="4081">
          <p15:clr>
            <a:srgbClr val="A4A3A4"/>
          </p15:clr>
        </p15:guide>
        <p15:guide id="9" pos="4979">
          <p15:clr>
            <a:srgbClr val="A4A3A4"/>
          </p15:clr>
        </p15:guide>
        <p15:guide id="10" pos="1368">
          <p15:clr>
            <a:srgbClr val="A4A3A4"/>
          </p15:clr>
        </p15:guide>
        <p15:guide id="11" pos="1476">
          <p15:clr>
            <a:srgbClr val="A4A3A4"/>
          </p15:clr>
        </p15:guide>
        <p15:guide id="12" pos="2568">
          <p15:clr>
            <a:srgbClr val="A4A3A4"/>
          </p15:clr>
        </p15:guide>
        <p15:guide id="13" pos="2680">
          <p15:clr>
            <a:srgbClr val="A4A3A4"/>
          </p15:clr>
        </p15:guide>
        <p15:guide id="15" pos="3772">
          <p15:clr>
            <a:srgbClr val="A4A3A4"/>
          </p15:clr>
        </p15:guide>
        <p15:guide id="16" pos="3884">
          <p15:clr>
            <a:srgbClr val="A4A3A4"/>
          </p15:clr>
        </p15:guide>
        <p15:guide id="17" pos="3828">
          <p15:clr>
            <a:srgbClr val="A4A3A4"/>
          </p15:clr>
        </p15:guide>
        <p15:guide id="18" pos="6189">
          <p15:clr>
            <a:srgbClr val="A4A3A4"/>
          </p15:clr>
        </p15:guide>
        <p15:guide id="19" orient="horz" pos="1049">
          <p15:clr>
            <a:srgbClr val="A4A3A4"/>
          </p15:clr>
        </p15:guide>
        <p15:guide id="20" orient="horz" pos="641">
          <p15:clr>
            <a:srgbClr val="A4A3A4"/>
          </p15:clr>
        </p15:guide>
        <p15:guide id="21" orient="horz" pos="288">
          <p15:clr>
            <a:srgbClr val="A4A3A4"/>
          </p15:clr>
        </p15:guide>
        <p15:guide id="22" pos="6298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3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1" y="402586"/>
            <a:ext cx="9163049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1" y="1665290"/>
            <a:ext cx="916305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fr-FR" sz="650" noProof="0" dirty="0">
                <a:solidFill>
                  <a:schemeClr val="tx1"/>
                </a:solidFill>
              </a:rPr>
              <a:t>© </a:t>
            </a:r>
            <a:r>
              <a:rPr lang="fr-FR" sz="650" noProof="0" dirty="0" smtClean="0">
                <a:solidFill>
                  <a:schemeClr val="tx1"/>
                </a:solidFill>
              </a:rPr>
              <a:t>2020 </a:t>
            </a:r>
            <a:r>
              <a:rPr lang="fr-FR" sz="650" noProof="0" dirty="0">
                <a:solidFill>
                  <a:schemeClr val="tx1"/>
                </a:solidFill>
              </a:rPr>
              <a:t>Deloitte Touche </a:t>
            </a:r>
            <a:r>
              <a:rPr lang="fr-FR" sz="650" noProof="0" dirty="0" err="1">
                <a:solidFill>
                  <a:schemeClr val="tx1"/>
                </a:solidFill>
              </a:rPr>
              <a:t>Tohmatsu</a:t>
            </a:r>
            <a:r>
              <a:rPr lang="fr-FR" sz="650" noProof="0" dirty="0">
                <a:solidFill>
                  <a:schemeClr val="tx1"/>
                </a:solidFill>
              </a:rPr>
              <a:t> </a:t>
            </a:r>
            <a:r>
              <a:rPr lang="fr-FR" sz="650" noProof="0" dirty="0" smtClean="0">
                <a:solidFill>
                  <a:schemeClr val="tx1"/>
                </a:solidFill>
              </a:rPr>
              <a:t>Limited. All </a:t>
            </a:r>
            <a:r>
              <a:rPr lang="fr-FR" sz="650" noProof="0" dirty="0" err="1" smtClean="0">
                <a:solidFill>
                  <a:schemeClr val="tx1"/>
                </a:solidFill>
              </a:rPr>
              <a:t>rights</a:t>
            </a:r>
            <a:r>
              <a:rPr lang="fr-FR" sz="650" baseline="0" noProof="0" dirty="0" smtClean="0">
                <a:solidFill>
                  <a:schemeClr val="tx1"/>
                </a:solidFill>
              </a:rPr>
              <a:t> </a:t>
            </a:r>
            <a:r>
              <a:rPr lang="fr-FR" sz="650" baseline="0" noProof="0" dirty="0" err="1" smtClean="0">
                <a:solidFill>
                  <a:schemeClr val="tx1"/>
                </a:solidFill>
              </a:rPr>
              <a:t>reserved</a:t>
            </a:r>
            <a:endParaRPr lang="fr-FR" sz="650" noProof="0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104440" y="0"/>
            <a:ext cx="2087560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b="1">
              <a:solidFill>
                <a:schemeClr val="bg2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275095" y="6309311"/>
            <a:ext cx="172481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r>
              <a:rPr lang="en-US" sz="1100" noProof="0" dirty="0">
                <a:solidFill>
                  <a:schemeClr val="accent6"/>
                </a:solidFill>
              </a:rPr>
              <a:t>Slide </a:t>
            </a:r>
            <a:fld id="{C58DF478-B544-4ED8-9ED4-6A2648E2D233}" type="slidenum">
              <a:rPr lang="en-US" sz="1100" noProof="0" smtClean="0">
                <a:solidFill>
                  <a:schemeClr val="accent6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r>
              <a:rPr lang="en-US" sz="1100" noProof="0" dirty="0">
                <a:solidFill>
                  <a:schemeClr val="accent6"/>
                </a:solidFill>
              </a:rPr>
              <a:t> of </a:t>
            </a:r>
            <a:r>
              <a:rPr lang="en-US" sz="1100" noProof="0" dirty="0" smtClean="0">
                <a:solidFill>
                  <a:schemeClr val="accent6"/>
                </a:solidFill>
              </a:rPr>
              <a:t>47</a:t>
            </a:r>
            <a:endParaRPr lang="en-US" sz="1100" noProof="0" dirty="0">
              <a:solidFill>
                <a:schemeClr val="accent6"/>
              </a:solidFill>
            </a:endParaRPr>
          </a:p>
        </p:txBody>
      </p:sp>
      <p:sp>
        <p:nvSpPr>
          <p:cNvPr id="9" name="Freeform 314">
            <a:hlinkClick r:id="rId26" action="ppaction://hlinksldjump"/>
          </p:cNvPr>
          <p:cNvSpPr>
            <a:spLocks noChangeAspect="1" noEditPoints="1"/>
          </p:cNvSpPr>
          <p:nvPr userDrawn="1"/>
        </p:nvSpPr>
        <p:spPr bwMode="auto">
          <a:xfrm>
            <a:off x="11634674" y="388541"/>
            <a:ext cx="367041" cy="367041"/>
          </a:xfrm>
          <a:custGeom>
            <a:avLst/>
            <a:gdLst>
              <a:gd name="T0" fmla="*/ 213 w 512"/>
              <a:gd name="T1" fmla="*/ 245 h 512"/>
              <a:gd name="T2" fmla="*/ 192 w 512"/>
              <a:gd name="T3" fmla="*/ 266 h 512"/>
              <a:gd name="T4" fmla="*/ 320 w 512"/>
              <a:gd name="T5" fmla="*/ 245 h 512"/>
              <a:gd name="T6" fmla="*/ 298 w 512"/>
              <a:gd name="T7" fmla="*/ 266 h 512"/>
              <a:gd name="T8" fmla="*/ 320 w 512"/>
              <a:gd name="T9" fmla="*/ 245 h 512"/>
              <a:gd name="T10" fmla="*/ 256 w 512"/>
              <a:gd name="T11" fmla="*/ 512 h 512"/>
              <a:gd name="T12" fmla="*/ 256 w 512"/>
              <a:gd name="T13" fmla="*/ 0 h 512"/>
              <a:gd name="T14" fmla="*/ 412 w 512"/>
              <a:gd name="T15" fmla="*/ 226 h 512"/>
              <a:gd name="T16" fmla="*/ 249 w 512"/>
              <a:gd name="T17" fmla="*/ 98 h 512"/>
              <a:gd name="T18" fmla="*/ 96 w 512"/>
              <a:gd name="T19" fmla="*/ 238 h 512"/>
              <a:gd name="T20" fmla="*/ 128 w 512"/>
              <a:gd name="T21" fmla="*/ 245 h 512"/>
              <a:gd name="T22" fmla="*/ 138 w 512"/>
              <a:gd name="T23" fmla="*/ 394 h 512"/>
              <a:gd name="T24" fmla="*/ 245 w 512"/>
              <a:gd name="T25" fmla="*/ 384 h 512"/>
              <a:gd name="T26" fmla="*/ 266 w 512"/>
              <a:gd name="T27" fmla="*/ 330 h 512"/>
              <a:gd name="T28" fmla="*/ 277 w 512"/>
              <a:gd name="T29" fmla="*/ 394 h 512"/>
              <a:gd name="T30" fmla="*/ 384 w 512"/>
              <a:gd name="T31" fmla="*/ 384 h 512"/>
              <a:gd name="T32" fmla="*/ 405 w 512"/>
              <a:gd name="T33" fmla="*/ 245 h 512"/>
              <a:gd name="T34" fmla="*/ 412 w 512"/>
              <a:gd name="T35" fmla="*/ 226 h 512"/>
              <a:gd name="T36" fmla="*/ 376 w 512"/>
              <a:gd name="T37" fmla="*/ 224 h 512"/>
              <a:gd name="T38" fmla="*/ 362 w 512"/>
              <a:gd name="T39" fmla="*/ 234 h 512"/>
              <a:gd name="T40" fmla="*/ 288 w 512"/>
              <a:gd name="T41" fmla="*/ 373 h 512"/>
              <a:gd name="T42" fmla="*/ 277 w 512"/>
              <a:gd name="T43" fmla="*/ 309 h 512"/>
              <a:gd name="T44" fmla="*/ 224 w 512"/>
              <a:gd name="T45" fmla="*/ 320 h 512"/>
              <a:gd name="T46" fmla="*/ 149 w 512"/>
              <a:gd name="T47" fmla="*/ 373 h 512"/>
              <a:gd name="T48" fmla="*/ 138 w 512"/>
              <a:gd name="T49" fmla="*/ 224 h 512"/>
              <a:gd name="T50" fmla="*/ 256 w 512"/>
              <a:gd name="T51" fmla="*/ 120 h 512"/>
              <a:gd name="T52" fmla="*/ 224 w 512"/>
              <a:gd name="T53" fmla="*/ 224 h 512"/>
              <a:gd name="T54" fmla="*/ 170 w 512"/>
              <a:gd name="T55" fmla="*/ 234 h 512"/>
              <a:gd name="T56" fmla="*/ 181 w 512"/>
              <a:gd name="T57" fmla="*/ 288 h 512"/>
              <a:gd name="T58" fmla="*/ 234 w 512"/>
              <a:gd name="T59" fmla="*/ 277 h 512"/>
              <a:gd name="T60" fmla="*/ 277 w 512"/>
              <a:gd name="T61" fmla="*/ 277 h 512"/>
              <a:gd name="T62" fmla="*/ 330 w 512"/>
              <a:gd name="T63" fmla="*/ 288 h 512"/>
              <a:gd name="T64" fmla="*/ 341 w 512"/>
              <a:gd name="T65" fmla="*/ 234 h 512"/>
              <a:gd name="T66" fmla="*/ 288 w 512"/>
              <a:gd name="T67" fmla="*/ 224 h 512"/>
              <a:gd name="T68" fmla="*/ 277 w 512"/>
              <a:gd name="T69" fmla="*/ 27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192" y="245"/>
                </a:moveTo>
                <a:cubicBezTo>
                  <a:pt x="213" y="245"/>
                  <a:pt x="213" y="245"/>
                  <a:pt x="213" y="245"/>
                </a:cubicBezTo>
                <a:cubicBezTo>
                  <a:pt x="213" y="266"/>
                  <a:pt x="213" y="266"/>
                  <a:pt x="213" y="266"/>
                </a:cubicBezTo>
                <a:cubicBezTo>
                  <a:pt x="192" y="266"/>
                  <a:pt x="192" y="266"/>
                  <a:pt x="192" y="266"/>
                </a:cubicBezTo>
                <a:lnTo>
                  <a:pt x="192" y="245"/>
                </a:lnTo>
                <a:close/>
                <a:moveTo>
                  <a:pt x="320" y="245"/>
                </a:moveTo>
                <a:cubicBezTo>
                  <a:pt x="298" y="245"/>
                  <a:pt x="298" y="245"/>
                  <a:pt x="298" y="245"/>
                </a:cubicBezTo>
                <a:cubicBezTo>
                  <a:pt x="298" y="266"/>
                  <a:pt x="298" y="266"/>
                  <a:pt x="298" y="266"/>
                </a:cubicBezTo>
                <a:cubicBezTo>
                  <a:pt x="320" y="266"/>
                  <a:pt x="320" y="266"/>
                  <a:pt x="320" y="266"/>
                </a:cubicBezTo>
                <a:lnTo>
                  <a:pt x="320" y="245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2" y="226"/>
                </a:moveTo>
                <a:cubicBezTo>
                  <a:pt x="263" y="98"/>
                  <a:pt x="263" y="98"/>
                  <a:pt x="263" y="98"/>
                </a:cubicBezTo>
                <a:cubicBezTo>
                  <a:pt x="259" y="95"/>
                  <a:pt x="253" y="95"/>
                  <a:pt x="249" y="98"/>
                </a:cubicBezTo>
                <a:cubicBezTo>
                  <a:pt x="99" y="226"/>
                  <a:pt x="99" y="226"/>
                  <a:pt x="99" y="226"/>
                </a:cubicBezTo>
                <a:cubicBezTo>
                  <a:pt x="96" y="229"/>
                  <a:pt x="95" y="234"/>
                  <a:pt x="96" y="238"/>
                </a:cubicBezTo>
                <a:cubicBezTo>
                  <a:pt x="98" y="242"/>
                  <a:pt x="102" y="245"/>
                  <a:pt x="106" y="245"/>
                </a:cubicBezTo>
                <a:cubicBezTo>
                  <a:pt x="128" y="245"/>
                  <a:pt x="128" y="245"/>
                  <a:pt x="128" y="245"/>
                </a:cubicBezTo>
                <a:cubicBezTo>
                  <a:pt x="128" y="384"/>
                  <a:pt x="128" y="384"/>
                  <a:pt x="128" y="384"/>
                </a:cubicBezTo>
                <a:cubicBezTo>
                  <a:pt x="128" y="390"/>
                  <a:pt x="132" y="394"/>
                  <a:pt x="138" y="394"/>
                </a:cubicBezTo>
                <a:cubicBezTo>
                  <a:pt x="234" y="394"/>
                  <a:pt x="234" y="394"/>
                  <a:pt x="234" y="394"/>
                </a:cubicBezTo>
                <a:cubicBezTo>
                  <a:pt x="240" y="394"/>
                  <a:pt x="245" y="390"/>
                  <a:pt x="245" y="384"/>
                </a:cubicBezTo>
                <a:cubicBezTo>
                  <a:pt x="245" y="330"/>
                  <a:pt x="245" y="330"/>
                  <a:pt x="245" y="330"/>
                </a:cubicBezTo>
                <a:cubicBezTo>
                  <a:pt x="266" y="330"/>
                  <a:pt x="266" y="330"/>
                  <a:pt x="266" y="330"/>
                </a:cubicBezTo>
                <a:cubicBezTo>
                  <a:pt x="266" y="384"/>
                  <a:pt x="266" y="384"/>
                  <a:pt x="266" y="384"/>
                </a:cubicBezTo>
                <a:cubicBezTo>
                  <a:pt x="266" y="390"/>
                  <a:pt x="271" y="394"/>
                  <a:pt x="277" y="394"/>
                </a:cubicBezTo>
                <a:cubicBezTo>
                  <a:pt x="373" y="394"/>
                  <a:pt x="373" y="394"/>
                  <a:pt x="373" y="394"/>
                </a:cubicBezTo>
                <a:cubicBezTo>
                  <a:pt x="379" y="394"/>
                  <a:pt x="384" y="390"/>
                  <a:pt x="384" y="384"/>
                </a:cubicBezTo>
                <a:cubicBezTo>
                  <a:pt x="384" y="245"/>
                  <a:pt x="384" y="245"/>
                  <a:pt x="384" y="245"/>
                </a:cubicBezTo>
                <a:cubicBezTo>
                  <a:pt x="405" y="245"/>
                  <a:pt x="405" y="245"/>
                  <a:pt x="405" y="245"/>
                </a:cubicBezTo>
                <a:cubicBezTo>
                  <a:pt x="409" y="245"/>
                  <a:pt x="413" y="242"/>
                  <a:pt x="415" y="238"/>
                </a:cubicBezTo>
                <a:cubicBezTo>
                  <a:pt x="417" y="234"/>
                  <a:pt x="415" y="229"/>
                  <a:pt x="412" y="226"/>
                </a:cubicBezTo>
                <a:close/>
                <a:moveTo>
                  <a:pt x="256" y="120"/>
                </a:moveTo>
                <a:cubicBezTo>
                  <a:pt x="376" y="224"/>
                  <a:pt x="376" y="224"/>
                  <a:pt x="376" y="224"/>
                </a:cubicBezTo>
                <a:cubicBezTo>
                  <a:pt x="373" y="224"/>
                  <a:pt x="373" y="224"/>
                  <a:pt x="373" y="224"/>
                </a:cubicBezTo>
                <a:cubicBezTo>
                  <a:pt x="367" y="224"/>
                  <a:pt x="362" y="228"/>
                  <a:pt x="362" y="234"/>
                </a:cubicBezTo>
                <a:cubicBezTo>
                  <a:pt x="362" y="373"/>
                  <a:pt x="362" y="373"/>
                  <a:pt x="362" y="373"/>
                </a:cubicBezTo>
                <a:cubicBezTo>
                  <a:pt x="288" y="373"/>
                  <a:pt x="288" y="373"/>
                  <a:pt x="288" y="373"/>
                </a:cubicBezTo>
                <a:cubicBezTo>
                  <a:pt x="288" y="320"/>
                  <a:pt x="288" y="320"/>
                  <a:pt x="288" y="320"/>
                </a:cubicBezTo>
                <a:cubicBezTo>
                  <a:pt x="288" y="314"/>
                  <a:pt x="283" y="309"/>
                  <a:pt x="277" y="309"/>
                </a:cubicBezTo>
                <a:cubicBezTo>
                  <a:pt x="234" y="309"/>
                  <a:pt x="234" y="309"/>
                  <a:pt x="234" y="309"/>
                </a:cubicBezTo>
                <a:cubicBezTo>
                  <a:pt x="228" y="309"/>
                  <a:pt x="224" y="314"/>
                  <a:pt x="224" y="320"/>
                </a:cubicBezTo>
                <a:cubicBezTo>
                  <a:pt x="224" y="373"/>
                  <a:pt x="224" y="373"/>
                  <a:pt x="224" y="373"/>
                </a:cubicBezTo>
                <a:cubicBezTo>
                  <a:pt x="149" y="373"/>
                  <a:pt x="149" y="373"/>
                  <a:pt x="149" y="373"/>
                </a:cubicBezTo>
                <a:cubicBezTo>
                  <a:pt x="149" y="234"/>
                  <a:pt x="149" y="234"/>
                  <a:pt x="149" y="234"/>
                </a:cubicBezTo>
                <a:cubicBezTo>
                  <a:pt x="149" y="228"/>
                  <a:pt x="144" y="224"/>
                  <a:pt x="138" y="224"/>
                </a:cubicBezTo>
                <a:cubicBezTo>
                  <a:pt x="135" y="224"/>
                  <a:pt x="135" y="224"/>
                  <a:pt x="135" y="224"/>
                </a:cubicBezTo>
                <a:lnTo>
                  <a:pt x="256" y="120"/>
                </a:lnTo>
                <a:close/>
                <a:moveTo>
                  <a:pt x="234" y="234"/>
                </a:moveTo>
                <a:cubicBezTo>
                  <a:pt x="234" y="228"/>
                  <a:pt x="230" y="224"/>
                  <a:pt x="224" y="224"/>
                </a:cubicBezTo>
                <a:cubicBezTo>
                  <a:pt x="181" y="224"/>
                  <a:pt x="181" y="224"/>
                  <a:pt x="181" y="224"/>
                </a:cubicBezTo>
                <a:cubicBezTo>
                  <a:pt x="175" y="224"/>
                  <a:pt x="170" y="228"/>
                  <a:pt x="170" y="234"/>
                </a:cubicBezTo>
                <a:cubicBezTo>
                  <a:pt x="170" y="277"/>
                  <a:pt x="170" y="277"/>
                  <a:pt x="170" y="277"/>
                </a:cubicBezTo>
                <a:cubicBezTo>
                  <a:pt x="170" y="283"/>
                  <a:pt x="175" y="288"/>
                  <a:pt x="181" y="288"/>
                </a:cubicBezTo>
                <a:cubicBezTo>
                  <a:pt x="224" y="288"/>
                  <a:pt x="224" y="288"/>
                  <a:pt x="224" y="288"/>
                </a:cubicBezTo>
                <a:cubicBezTo>
                  <a:pt x="230" y="288"/>
                  <a:pt x="234" y="283"/>
                  <a:pt x="234" y="277"/>
                </a:cubicBezTo>
                <a:lnTo>
                  <a:pt x="234" y="234"/>
                </a:lnTo>
                <a:close/>
                <a:moveTo>
                  <a:pt x="277" y="277"/>
                </a:moveTo>
                <a:cubicBezTo>
                  <a:pt x="277" y="283"/>
                  <a:pt x="282" y="288"/>
                  <a:pt x="288" y="288"/>
                </a:cubicBezTo>
                <a:cubicBezTo>
                  <a:pt x="330" y="288"/>
                  <a:pt x="330" y="288"/>
                  <a:pt x="330" y="288"/>
                </a:cubicBezTo>
                <a:cubicBezTo>
                  <a:pt x="336" y="288"/>
                  <a:pt x="341" y="283"/>
                  <a:pt x="341" y="277"/>
                </a:cubicBezTo>
                <a:cubicBezTo>
                  <a:pt x="341" y="234"/>
                  <a:pt x="341" y="234"/>
                  <a:pt x="341" y="234"/>
                </a:cubicBezTo>
                <a:cubicBezTo>
                  <a:pt x="341" y="228"/>
                  <a:pt x="336" y="224"/>
                  <a:pt x="330" y="224"/>
                </a:cubicBezTo>
                <a:cubicBezTo>
                  <a:pt x="288" y="224"/>
                  <a:pt x="288" y="224"/>
                  <a:pt x="288" y="224"/>
                </a:cubicBezTo>
                <a:cubicBezTo>
                  <a:pt x="282" y="224"/>
                  <a:pt x="277" y="228"/>
                  <a:pt x="277" y="234"/>
                </a:cubicBezTo>
                <a:lnTo>
                  <a:pt x="277" y="277"/>
                </a:lnTo>
                <a:close/>
              </a:path>
            </a:pathLst>
          </a:custGeom>
          <a:solidFill>
            <a:srgbClr val="BBBCBC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1065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  <p:sldLayoutId id="2147483681" r:id="rId16"/>
    <p:sldLayoutId id="2147483682" r:id="rId17"/>
    <p:sldLayoutId id="2147483683" r:id="rId18"/>
    <p:sldLayoutId id="2147483684" r:id="rId19"/>
    <p:sldLayoutId id="2147483685" r:id="rId20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600"/>
        </a:spcBef>
        <a:spcAft>
          <a:spcPts val="6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600"/>
        </a:spcBef>
        <a:spcAft>
          <a:spcPts val="600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1219170" rtl="0" eaLnBrk="1" latinLnBrk="0" hangingPunct="1">
        <a:spcBef>
          <a:spcPts val="60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1219170" rtl="0" eaLnBrk="1" latinLnBrk="0" hangingPunct="1">
        <a:spcBef>
          <a:spcPts val="600"/>
        </a:spcBef>
        <a:spcAft>
          <a:spcPts val="6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1064657" rtl="0" eaLnBrk="1" latinLnBrk="0" hangingPunct="1">
        <a:spcBef>
          <a:spcPts val="60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0">
          <p15:clr>
            <a:srgbClr val="A4A3A4"/>
          </p15:clr>
        </p15:guide>
        <p15:guide id="2" orient="horz" pos="2160">
          <p15:clr>
            <a:srgbClr val="A4A3A4"/>
          </p15:clr>
        </p15:guide>
        <p15:guide id="3" orient="horz" pos="3968">
          <p15:clr>
            <a:srgbClr val="A4A3A4"/>
          </p15:clr>
        </p15:guide>
        <p15:guide id="4" pos="296">
          <p15:clr>
            <a:srgbClr val="A4A3A4"/>
          </p15:clr>
        </p15:guide>
        <p15:guide id="5" pos="6068">
          <p15:clr>
            <a:srgbClr val="A4A3A4"/>
          </p15:clr>
        </p15:guide>
        <p15:guide id="6" orient="horz" pos="1071">
          <p15:clr>
            <a:srgbClr val="A4A3A4"/>
          </p15:clr>
        </p15:guide>
        <p15:guide id="7" orient="horz" pos="245">
          <p15:clr>
            <a:srgbClr val="A4A3A4"/>
          </p15:clr>
        </p15:guide>
        <p15:guide id="8" orient="horz" pos="4081">
          <p15:clr>
            <a:srgbClr val="A4A3A4"/>
          </p15:clr>
        </p15:guide>
        <p15:guide id="10" pos="4106">
          <p15:clr>
            <a:srgbClr val="A4A3A4"/>
          </p15:clr>
        </p15:guide>
        <p15:guide id="12" pos="1163">
          <p15:clr>
            <a:srgbClr val="A4A3A4"/>
          </p15:clr>
        </p15:guide>
        <p15:guide id="13" pos="1277">
          <p15:clr>
            <a:srgbClr val="A4A3A4"/>
          </p15:clr>
        </p15:guide>
        <p15:guide id="14" pos="2144">
          <p15:clr>
            <a:srgbClr val="A4A3A4"/>
          </p15:clr>
        </p15:guide>
        <p15:guide id="15" pos="2258">
          <p15:clr>
            <a:srgbClr val="A4A3A4"/>
          </p15:clr>
        </p15:guide>
        <p15:guide id="16" pos="5087">
          <p15:clr>
            <a:srgbClr val="A4A3A4"/>
          </p15:clr>
        </p15:guide>
        <p15:guide id="17" pos="3125">
          <p15:clr>
            <a:srgbClr val="A4A3A4"/>
          </p15:clr>
        </p15:guide>
        <p15:guide id="18" pos="3182">
          <p15:clr>
            <a:srgbClr val="A4A3A4"/>
          </p15:clr>
        </p15:guide>
        <p15:guide id="19" pos="3239">
          <p15:clr>
            <a:srgbClr val="A4A3A4"/>
          </p15:clr>
        </p15:guide>
        <p15:guide id="20" pos="5201">
          <p15:clr>
            <a:srgbClr val="A4A3A4"/>
          </p15:clr>
        </p15:guide>
        <p15:guide id="21" orient="horz" pos="1049">
          <p15:clr>
            <a:srgbClr val="A4A3A4"/>
          </p15:clr>
        </p15:guide>
        <p15:guide id="22" orient="horz" pos="641">
          <p15:clr>
            <a:srgbClr val="A4A3A4"/>
          </p15:clr>
        </p15:guide>
        <p15:guide id="23" orient="horz" pos="288">
          <p15:clr>
            <a:srgbClr val="A4A3A4"/>
          </p15:clr>
        </p15:guide>
        <p15:guide id="24" pos="7559">
          <p15:clr>
            <a:srgbClr val="A4A3A4"/>
          </p15:clr>
        </p15:guide>
        <p15:guide id="25" pos="6365">
          <p15:clr>
            <a:srgbClr val="A4A3A4"/>
          </p15:clr>
        </p15:guide>
        <p15:guide id="26" pos="6471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3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1" y="402586"/>
            <a:ext cx="9163049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1" y="1665290"/>
            <a:ext cx="916305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fr-FR" sz="650" noProof="0" dirty="0">
                <a:solidFill>
                  <a:schemeClr val="tx1"/>
                </a:solidFill>
              </a:rPr>
              <a:t>© </a:t>
            </a:r>
            <a:r>
              <a:rPr lang="fr-FR" sz="650" noProof="0" dirty="0" smtClean="0">
                <a:solidFill>
                  <a:schemeClr val="tx1"/>
                </a:solidFill>
              </a:rPr>
              <a:t>2020 </a:t>
            </a:r>
            <a:r>
              <a:rPr lang="fr-FR" sz="650" noProof="0" dirty="0">
                <a:solidFill>
                  <a:schemeClr val="tx1"/>
                </a:solidFill>
              </a:rPr>
              <a:t>Deloitte Touche </a:t>
            </a:r>
            <a:r>
              <a:rPr lang="fr-FR" sz="650" noProof="0" dirty="0" err="1">
                <a:solidFill>
                  <a:schemeClr val="tx1"/>
                </a:solidFill>
              </a:rPr>
              <a:t>Tohmatsu</a:t>
            </a:r>
            <a:r>
              <a:rPr lang="fr-FR" sz="650" noProof="0" dirty="0">
                <a:solidFill>
                  <a:schemeClr val="tx1"/>
                </a:solidFill>
              </a:rPr>
              <a:t> </a:t>
            </a:r>
            <a:r>
              <a:rPr lang="fr-FR" sz="650" noProof="0" dirty="0" smtClean="0">
                <a:solidFill>
                  <a:schemeClr val="tx1"/>
                </a:solidFill>
              </a:rPr>
              <a:t>Limited. All </a:t>
            </a:r>
            <a:r>
              <a:rPr lang="fr-FR" sz="650" noProof="0" dirty="0" err="1" smtClean="0">
                <a:solidFill>
                  <a:schemeClr val="tx1"/>
                </a:solidFill>
              </a:rPr>
              <a:t>rights</a:t>
            </a:r>
            <a:r>
              <a:rPr lang="fr-FR" sz="650" noProof="0" dirty="0" smtClean="0">
                <a:solidFill>
                  <a:schemeClr val="tx1"/>
                </a:solidFill>
              </a:rPr>
              <a:t> </a:t>
            </a:r>
            <a:r>
              <a:rPr lang="fr-FR" sz="650" noProof="0" dirty="0" err="1" smtClean="0">
                <a:solidFill>
                  <a:schemeClr val="tx1"/>
                </a:solidFill>
              </a:rPr>
              <a:t>reserved</a:t>
            </a:r>
            <a:r>
              <a:rPr lang="fr-FR" sz="650" noProof="0" dirty="0" smtClean="0">
                <a:solidFill>
                  <a:schemeClr val="tx1"/>
                </a:solidFill>
              </a:rPr>
              <a:t>.</a:t>
            </a:r>
            <a:endParaRPr lang="fr-FR" sz="650" noProof="0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104440" y="0"/>
            <a:ext cx="2087560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b="1">
              <a:solidFill>
                <a:schemeClr val="bg2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275095" y="6309311"/>
            <a:ext cx="172481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r>
              <a:rPr lang="en-US" sz="1100" noProof="0" dirty="0">
                <a:solidFill>
                  <a:schemeClr val="accent6"/>
                </a:solidFill>
              </a:rPr>
              <a:t>Slide </a:t>
            </a:r>
            <a:fld id="{C58DF478-B544-4ED8-9ED4-6A2648E2D233}" type="slidenum">
              <a:rPr lang="en-US" sz="1100" noProof="0" smtClean="0">
                <a:solidFill>
                  <a:schemeClr val="accent6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r>
              <a:rPr lang="en-US" sz="1100" noProof="0" dirty="0">
                <a:solidFill>
                  <a:schemeClr val="accent6"/>
                </a:solidFill>
              </a:rPr>
              <a:t> of </a:t>
            </a:r>
            <a:r>
              <a:rPr lang="en-US" sz="1100" noProof="0" dirty="0" smtClean="0">
                <a:solidFill>
                  <a:schemeClr val="accent6"/>
                </a:solidFill>
              </a:rPr>
              <a:t>10</a:t>
            </a:r>
            <a:endParaRPr lang="en-US" sz="1100" noProof="0" dirty="0">
              <a:solidFill>
                <a:schemeClr val="accent6"/>
              </a:solidFill>
            </a:endParaRPr>
          </a:p>
        </p:txBody>
      </p:sp>
      <p:sp>
        <p:nvSpPr>
          <p:cNvPr id="9" name="Freeform 314">
            <a:hlinkClick r:id="rId26" action="ppaction://hlinksldjump"/>
          </p:cNvPr>
          <p:cNvSpPr>
            <a:spLocks noChangeAspect="1" noEditPoints="1"/>
          </p:cNvSpPr>
          <p:nvPr userDrawn="1"/>
        </p:nvSpPr>
        <p:spPr bwMode="auto">
          <a:xfrm>
            <a:off x="11634674" y="388541"/>
            <a:ext cx="367041" cy="367041"/>
          </a:xfrm>
          <a:custGeom>
            <a:avLst/>
            <a:gdLst>
              <a:gd name="T0" fmla="*/ 213 w 512"/>
              <a:gd name="T1" fmla="*/ 245 h 512"/>
              <a:gd name="T2" fmla="*/ 192 w 512"/>
              <a:gd name="T3" fmla="*/ 266 h 512"/>
              <a:gd name="T4" fmla="*/ 320 w 512"/>
              <a:gd name="T5" fmla="*/ 245 h 512"/>
              <a:gd name="T6" fmla="*/ 298 w 512"/>
              <a:gd name="T7" fmla="*/ 266 h 512"/>
              <a:gd name="T8" fmla="*/ 320 w 512"/>
              <a:gd name="T9" fmla="*/ 245 h 512"/>
              <a:gd name="T10" fmla="*/ 256 w 512"/>
              <a:gd name="T11" fmla="*/ 512 h 512"/>
              <a:gd name="T12" fmla="*/ 256 w 512"/>
              <a:gd name="T13" fmla="*/ 0 h 512"/>
              <a:gd name="T14" fmla="*/ 412 w 512"/>
              <a:gd name="T15" fmla="*/ 226 h 512"/>
              <a:gd name="T16" fmla="*/ 249 w 512"/>
              <a:gd name="T17" fmla="*/ 98 h 512"/>
              <a:gd name="T18" fmla="*/ 96 w 512"/>
              <a:gd name="T19" fmla="*/ 238 h 512"/>
              <a:gd name="T20" fmla="*/ 128 w 512"/>
              <a:gd name="T21" fmla="*/ 245 h 512"/>
              <a:gd name="T22" fmla="*/ 138 w 512"/>
              <a:gd name="T23" fmla="*/ 394 h 512"/>
              <a:gd name="T24" fmla="*/ 245 w 512"/>
              <a:gd name="T25" fmla="*/ 384 h 512"/>
              <a:gd name="T26" fmla="*/ 266 w 512"/>
              <a:gd name="T27" fmla="*/ 330 h 512"/>
              <a:gd name="T28" fmla="*/ 277 w 512"/>
              <a:gd name="T29" fmla="*/ 394 h 512"/>
              <a:gd name="T30" fmla="*/ 384 w 512"/>
              <a:gd name="T31" fmla="*/ 384 h 512"/>
              <a:gd name="T32" fmla="*/ 405 w 512"/>
              <a:gd name="T33" fmla="*/ 245 h 512"/>
              <a:gd name="T34" fmla="*/ 412 w 512"/>
              <a:gd name="T35" fmla="*/ 226 h 512"/>
              <a:gd name="T36" fmla="*/ 376 w 512"/>
              <a:gd name="T37" fmla="*/ 224 h 512"/>
              <a:gd name="T38" fmla="*/ 362 w 512"/>
              <a:gd name="T39" fmla="*/ 234 h 512"/>
              <a:gd name="T40" fmla="*/ 288 w 512"/>
              <a:gd name="T41" fmla="*/ 373 h 512"/>
              <a:gd name="T42" fmla="*/ 277 w 512"/>
              <a:gd name="T43" fmla="*/ 309 h 512"/>
              <a:gd name="T44" fmla="*/ 224 w 512"/>
              <a:gd name="T45" fmla="*/ 320 h 512"/>
              <a:gd name="T46" fmla="*/ 149 w 512"/>
              <a:gd name="T47" fmla="*/ 373 h 512"/>
              <a:gd name="T48" fmla="*/ 138 w 512"/>
              <a:gd name="T49" fmla="*/ 224 h 512"/>
              <a:gd name="T50" fmla="*/ 256 w 512"/>
              <a:gd name="T51" fmla="*/ 120 h 512"/>
              <a:gd name="T52" fmla="*/ 224 w 512"/>
              <a:gd name="T53" fmla="*/ 224 h 512"/>
              <a:gd name="T54" fmla="*/ 170 w 512"/>
              <a:gd name="T55" fmla="*/ 234 h 512"/>
              <a:gd name="T56" fmla="*/ 181 w 512"/>
              <a:gd name="T57" fmla="*/ 288 h 512"/>
              <a:gd name="T58" fmla="*/ 234 w 512"/>
              <a:gd name="T59" fmla="*/ 277 h 512"/>
              <a:gd name="T60" fmla="*/ 277 w 512"/>
              <a:gd name="T61" fmla="*/ 277 h 512"/>
              <a:gd name="T62" fmla="*/ 330 w 512"/>
              <a:gd name="T63" fmla="*/ 288 h 512"/>
              <a:gd name="T64" fmla="*/ 341 w 512"/>
              <a:gd name="T65" fmla="*/ 234 h 512"/>
              <a:gd name="T66" fmla="*/ 288 w 512"/>
              <a:gd name="T67" fmla="*/ 224 h 512"/>
              <a:gd name="T68" fmla="*/ 277 w 512"/>
              <a:gd name="T69" fmla="*/ 27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192" y="245"/>
                </a:moveTo>
                <a:cubicBezTo>
                  <a:pt x="213" y="245"/>
                  <a:pt x="213" y="245"/>
                  <a:pt x="213" y="245"/>
                </a:cubicBezTo>
                <a:cubicBezTo>
                  <a:pt x="213" y="266"/>
                  <a:pt x="213" y="266"/>
                  <a:pt x="213" y="266"/>
                </a:cubicBezTo>
                <a:cubicBezTo>
                  <a:pt x="192" y="266"/>
                  <a:pt x="192" y="266"/>
                  <a:pt x="192" y="266"/>
                </a:cubicBezTo>
                <a:lnTo>
                  <a:pt x="192" y="245"/>
                </a:lnTo>
                <a:close/>
                <a:moveTo>
                  <a:pt x="320" y="245"/>
                </a:moveTo>
                <a:cubicBezTo>
                  <a:pt x="298" y="245"/>
                  <a:pt x="298" y="245"/>
                  <a:pt x="298" y="245"/>
                </a:cubicBezTo>
                <a:cubicBezTo>
                  <a:pt x="298" y="266"/>
                  <a:pt x="298" y="266"/>
                  <a:pt x="298" y="266"/>
                </a:cubicBezTo>
                <a:cubicBezTo>
                  <a:pt x="320" y="266"/>
                  <a:pt x="320" y="266"/>
                  <a:pt x="320" y="266"/>
                </a:cubicBezTo>
                <a:lnTo>
                  <a:pt x="320" y="245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2" y="226"/>
                </a:moveTo>
                <a:cubicBezTo>
                  <a:pt x="263" y="98"/>
                  <a:pt x="263" y="98"/>
                  <a:pt x="263" y="98"/>
                </a:cubicBezTo>
                <a:cubicBezTo>
                  <a:pt x="259" y="95"/>
                  <a:pt x="253" y="95"/>
                  <a:pt x="249" y="98"/>
                </a:cubicBezTo>
                <a:cubicBezTo>
                  <a:pt x="99" y="226"/>
                  <a:pt x="99" y="226"/>
                  <a:pt x="99" y="226"/>
                </a:cubicBezTo>
                <a:cubicBezTo>
                  <a:pt x="96" y="229"/>
                  <a:pt x="95" y="234"/>
                  <a:pt x="96" y="238"/>
                </a:cubicBezTo>
                <a:cubicBezTo>
                  <a:pt x="98" y="242"/>
                  <a:pt x="102" y="245"/>
                  <a:pt x="106" y="245"/>
                </a:cubicBezTo>
                <a:cubicBezTo>
                  <a:pt x="128" y="245"/>
                  <a:pt x="128" y="245"/>
                  <a:pt x="128" y="245"/>
                </a:cubicBezTo>
                <a:cubicBezTo>
                  <a:pt x="128" y="384"/>
                  <a:pt x="128" y="384"/>
                  <a:pt x="128" y="384"/>
                </a:cubicBezTo>
                <a:cubicBezTo>
                  <a:pt x="128" y="390"/>
                  <a:pt x="132" y="394"/>
                  <a:pt x="138" y="394"/>
                </a:cubicBezTo>
                <a:cubicBezTo>
                  <a:pt x="234" y="394"/>
                  <a:pt x="234" y="394"/>
                  <a:pt x="234" y="394"/>
                </a:cubicBezTo>
                <a:cubicBezTo>
                  <a:pt x="240" y="394"/>
                  <a:pt x="245" y="390"/>
                  <a:pt x="245" y="384"/>
                </a:cubicBezTo>
                <a:cubicBezTo>
                  <a:pt x="245" y="330"/>
                  <a:pt x="245" y="330"/>
                  <a:pt x="245" y="330"/>
                </a:cubicBezTo>
                <a:cubicBezTo>
                  <a:pt x="266" y="330"/>
                  <a:pt x="266" y="330"/>
                  <a:pt x="266" y="330"/>
                </a:cubicBezTo>
                <a:cubicBezTo>
                  <a:pt x="266" y="384"/>
                  <a:pt x="266" y="384"/>
                  <a:pt x="266" y="384"/>
                </a:cubicBezTo>
                <a:cubicBezTo>
                  <a:pt x="266" y="390"/>
                  <a:pt x="271" y="394"/>
                  <a:pt x="277" y="394"/>
                </a:cubicBezTo>
                <a:cubicBezTo>
                  <a:pt x="373" y="394"/>
                  <a:pt x="373" y="394"/>
                  <a:pt x="373" y="394"/>
                </a:cubicBezTo>
                <a:cubicBezTo>
                  <a:pt x="379" y="394"/>
                  <a:pt x="384" y="390"/>
                  <a:pt x="384" y="384"/>
                </a:cubicBezTo>
                <a:cubicBezTo>
                  <a:pt x="384" y="245"/>
                  <a:pt x="384" y="245"/>
                  <a:pt x="384" y="245"/>
                </a:cubicBezTo>
                <a:cubicBezTo>
                  <a:pt x="405" y="245"/>
                  <a:pt x="405" y="245"/>
                  <a:pt x="405" y="245"/>
                </a:cubicBezTo>
                <a:cubicBezTo>
                  <a:pt x="409" y="245"/>
                  <a:pt x="413" y="242"/>
                  <a:pt x="415" y="238"/>
                </a:cubicBezTo>
                <a:cubicBezTo>
                  <a:pt x="417" y="234"/>
                  <a:pt x="415" y="229"/>
                  <a:pt x="412" y="226"/>
                </a:cubicBezTo>
                <a:close/>
                <a:moveTo>
                  <a:pt x="256" y="120"/>
                </a:moveTo>
                <a:cubicBezTo>
                  <a:pt x="376" y="224"/>
                  <a:pt x="376" y="224"/>
                  <a:pt x="376" y="224"/>
                </a:cubicBezTo>
                <a:cubicBezTo>
                  <a:pt x="373" y="224"/>
                  <a:pt x="373" y="224"/>
                  <a:pt x="373" y="224"/>
                </a:cubicBezTo>
                <a:cubicBezTo>
                  <a:pt x="367" y="224"/>
                  <a:pt x="362" y="228"/>
                  <a:pt x="362" y="234"/>
                </a:cubicBezTo>
                <a:cubicBezTo>
                  <a:pt x="362" y="373"/>
                  <a:pt x="362" y="373"/>
                  <a:pt x="362" y="373"/>
                </a:cubicBezTo>
                <a:cubicBezTo>
                  <a:pt x="288" y="373"/>
                  <a:pt x="288" y="373"/>
                  <a:pt x="288" y="373"/>
                </a:cubicBezTo>
                <a:cubicBezTo>
                  <a:pt x="288" y="320"/>
                  <a:pt x="288" y="320"/>
                  <a:pt x="288" y="320"/>
                </a:cubicBezTo>
                <a:cubicBezTo>
                  <a:pt x="288" y="314"/>
                  <a:pt x="283" y="309"/>
                  <a:pt x="277" y="309"/>
                </a:cubicBezTo>
                <a:cubicBezTo>
                  <a:pt x="234" y="309"/>
                  <a:pt x="234" y="309"/>
                  <a:pt x="234" y="309"/>
                </a:cubicBezTo>
                <a:cubicBezTo>
                  <a:pt x="228" y="309"/>
                  <a:pt x="224" y="314"/>
                  <a:pt x="224" y="320"/>
                </a:cubicBezTo>
                <a:cubicBezTo>
                  <a:pt x="224" y="373"/>
                  <a:pt x="224" y="373"/>
                  <a:pt x="224" y="373"/>
                </a:cubicBezTo>
                <a:cubicBezTo>
                  <a:pt x="149" y="373"/>
                  <a:pt x="149" y="373"/>
                  <a:pt x="149" y="373"/>
                </a:cubicBezTo>
                <a:cubicBezTo>
                  <a:pt x="149" y="234"/>
                  <a:pt x="149" y="234"/>
                  <a:pt x="149" y="234"/>
                </a:cubicBezTo>
                <a:cubicBezTo>
                  <a:pt x="149" y="228"/>
                  <a:pt x="144" y="224"/>
                  <a:pt x="138" y="224"/>
                </a:cubicBezTo>
                <a:cubicBezTo>
                  <a:pt x="135" y="224"/>
                  <a:pt x="135" y="224"/>
                  <a:pt x="135" y="224"/>
                </a:cubicBezTo>
                <a:lnTo>
                  <a:pt x="256" y="120"/>
                </a:lnTo>
                <a:close/>
                <a:moveTo>
                  <a:pt x="234" y="234"/>
                </a:moveTo>
                <a:cubicBezTo>
                  <a:pt x="234" y="228"/>
                  <a:pt x="230" y="224"/>
                  <a:pt x="224" y="224"/>
                </a:cubicBezTo>
                <a:cubicBezTo>
                  <a:pt x="181" y="224"/>
                  <a:pt x="181" y="224"/>
                  <a:pt x="181" y="224"/>
                </a:cubicBezTo>
                <a:cubicBezTo>
                  <a:pt x="175" y="224"/>
                  <a:pt x="170" y="228"/>
                  <a:pt x="170" y="234"/>
                </a:cubicBezTo>
                <a:cubicBezTo>
                  <a:pt x="170" y="277"/>
                  <a:pt x="170" y="277"/>
                  <a:pt x="170" y="277"/>
                </a:cubicBezTo>
                <a:cubicBezTo>
                  <a:pt x="170" y="283"/>
                  <a:pt x="175" y="288"/>
                  <a:pt x="181" y="288"/>
                </a:cubicBezTo>
                <a:cubicBezTo>
                  <a:pt x="224" y="288"/>
                  <a:pt x="224" y="288"/>
                  <a:pt x="224" y="288"/>
                </a:cubicBezTo>
                <a:cubicBezTo>
                  <a:pt x="230" y="288"/>
                  <a:pt x="234" y="283"/>
                  <a:pt x="234" y="277"/>
                </a:cubicBezTo>
                <a:lnTo>
                  <a:pt x="234" y="234"/>
                </a:lnTo>
                <a:close/>
                <a:moveTo>
                  <a:pt x="277" y="277"/>
                </a:moveTo>
                <a:cubicBezTo>
                  <a:pt x="277" y="283"/>
                  <a:pt x="282" y="288"/>
                  <a:pt x="288" y="288"/>
                </a:cubicBezTo>
                <a:cubicBezTo>
                  <a:pt x="330" y="288"/>
                  <a:pt x="330" y="288"/>
                  <a:pt x="330" y="288"/>
                </a:cubicBezTo>
                <a:cubicBezTo>
                  <a:pt x="336" y="288"/>
                  <a:pt x="341" y="283"/>
                  <a:pt x="341" y="277"/>
                </a:cubicBezTo>
                <a:cubicBezTo>
                  <a:pt x="341" y="234"/>
                  <a:pt x="341" y="234"/>
                  <a:pt x="341" y="234"/>
                </a:cubicBezTo>
                <a:cubicBezTo>
                  <a:pt x="341" y="228"/>
                  <a:pt x="336" y="224"/>
                  <a:pt x="330" y="224"/>
                </a:cubicBezTo>
                <a:cubicBezTo>
                  <a:pt x="288" y="224"/>
                  <a:pt x="288" y="224"/>
                  <a:pt x="288" y="224"/>
                </a:cubicBezTo>
                <a:cubicBezTo>
                  <a:pt x="282" y="224"/>
                  <a:pt x="277" y="228"/>
                  <a:pt x="277" y="234"/>
                </a:cubicBezTo>
                <a:lnTo>
                  <a:pt x="277" y="277"/>
                </a:lnTo>
                <a:close/>
              </a:path>
            </a:pathLst>
          </a:custGeom>
          <a:solidFill>
            <a:srgbClr val="BBBCBC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5340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  <p:sldLayoutId id="2147483702" r:id="rId16"/>
    <p:sldLayoutId id="2147483703" r:id="rId17"/>
    <p:sldLayoutId id="2147483704" r:id="rId18"/>
    <p:sldLayoutId id="2147483705" r:id="rId19"/>
    <p:sldLayoutId id="2147483706" r:id="rId20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600"/>
        </a:spcBef>
        <a:spcAft>
          <a:spcPts val="6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600"/>
        </a:spcBef>
        <a:spcAft>
          <a:spcPts val="600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1219170" rtl="0" eaLnBrk="1" latinLnBrk="0" hangingPunct="1">
        <a:spcBef>
          <a:spcPts val="60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1219170" rtl="0" eaLnBrk="1" latinLnBrk="0" hangingPunct="1">
        <a:spcBef>
          <a:spcPts val="600"/>
        </a:spcBef>
        <a:spcAft>
          <a:spcPts val="6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1064657" rtl="0" eaLnBrk="1" latinLnBrk="0" hangingPunct="1">
        <a:spcBef>
          <a:spcPts val="60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0">
          <p15:clr>
            <a:srgbClr val="A4A3A4"/>
          </p15:clr>
        </p15:guide>
        <p15:guide id="2" orient="horz" pos="2160">
          <p15:clr>
            <a:srgbClr val="A4A3A4"/>
          </p15:clr>
        </p15:guide>
        <p15:guide id="3" orient="horz" pos="3968">
          <p15:clr>
            <a:srgbClr val="A4A3A4"/>
          </p15:clr>
        </p15:guide>
        <p15:guide id="4" pos="296">
          <p15:clr>
            <a:srgbClr val="A4A3A4"/>
          </p15:clr>
        </p15:guide>
        <p15:guide id="5" pos="6068">
          <p15:clr>
            <a:srgbClr val="A4A3A4"/>
          </p15:clr>
        </p15:guide>
        <p15:guide id="6" orient="horz" pos="1071">
          <p15:clr>
            <a:srgbClr val="A4A3A4"/>
          </p15:clr>
        </p15:guide>
        <p15:guide id="7" orient="horz" pos="245">
          <p15:clr>
            <a:srgbClr val="A4A3A4"/>
          </p15:clr>
        </p15:guide>
        <p15:guide id="8" orient="horz" pos="4081">
          <p15:clr>
            <a:srgbClr val="A4A3A4"/>
          </p15:clr>
        </p15:guide>
        <p15:guide id="10" pos="4106">
          <p15:clr>
            <a:srgbClr val="A4A3A4"/>
          </p15:clr>
        </p15:guide>
        <p15:guide id="12" pos="1163">
          <p15:clr>
            <a:srgbClr val="A4A3A4"/>
          </p15:clr>
        </p15:guide>
        <p15:guide id="13" pos="1277">
          <p15:clr>
            <a:srgbClr val="A4A3A4"/>
          </p15:clr>
        </p15:guide>
        <p15:guide id="14" pos="2144">
          <p15:clr>
            <a:srgbClr val="A4A3A4"/>
          </p15:clr>
        </p15:guide>
        <p15:guide id="15" pos="2258">
          <p15:clr>
            <a:srgbClr val="A4A3A4"/>
          </p15:clr>
        </p15:guide>
        <p15:guide id="16" pos="5087">
          <p15:clr>
            <a:srgbClr val="A4A3A4"/>
          </p15:clr>
        </p15:guide>
        <p15:guide id="17" pos="3125">
          <p15:clr>
            <a:srgbClr val="A4A3A4"/>
          </p15:clr>
        </p15:guide>
        <p15:guide id="18" pos="3182">
          <p15:clr>
            <a:srgbClr val="A4A3A4"/>
          </p15:clr>
        </p15:guide>
        <p15:guide id="19" pos="3239">
          <p15:clr>
            <a:srgbClr val="A4A3A4"/>
          </p15:clr>
        </p15:guide>
        <p15:guide id="20" pos="5201">
          <p15:clr>
            <a:srgbClr val="A4A3A4"/>
          </p15:clr>
        </p15:guide>
        <p15:guide id="21" orient="horz" pos="1049">
          <p15:clr>
            <a:srgbClr val="A4A3A4"/>
          </p15:clr>
        </p15:guide>
        <p15:guide id="22" orient="horz" pos="641">
          <p15:clr>
            <a:srgbClr val="A4A3A4"/>
          </p15:clr>
        </p15:guide>
        <p15:guide id="23" orient="horz" pos="288">
          <p15:clr>
            <a:srgbClr val="A4A3A4"/>
          </p15:clr>
        </p15:guide>
        <p15:guide id="24" pos="7559">
          <p15:clr>
            <a:srgbClr val="A4A3A4"/>
          </p15:clr>
        </p15:guide>
        <p15:guide id="25" pos="6365">
          <p15:clr>
            <a:srgbClr val="A4A3A4"/>
          </p15:clr>
        </p15:guide>
        <p15:guide id="26" pos="6471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4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4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1" y="402586"/>
            <a:ext cx="9163049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1" y="1665290"/>
            <a:ext cx="916305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fr-FR" sz="650" noProof="0" dirty="0">
                <a:solidFill>
                  <a:schemeClr val="tx1"/>
                </a:solidFill>
              </a:rPr>
              <a:t>© </a:t>
            </a:r>
            <a:r>
              <a:rPr lang="fr-FR" sz="650" noProof="0" dirty="0" smtClean="0">
                <a:solidFill>
                  <a:schemeClr val="tx1"/>
                </a:solidFill>
              </a:rPr>
              <a:t>2020</a:t>
            </a:r>
            <a:r>
              <a:rPr lang="fr-FR" sz="650" baseline="0" noProof="0" dirty="0" smtClean="0">
                <a:solidFill>
                  <a:schemeClr val="tx1"/>
                </a:solidFill>
              </a:rPr>
              <a:t> </a:t>
            </a:r>
            <a:r>
              <a:rPr lang="fr-FR" sz="650" noProof="0" dirty="0" smtClean="0">
                <a:solidFill>
                  <a:schemeClr val="tx1"/>
                </a:solidFill>
              </a:rPr>
              <a:t>Deloitte </a:t>
            </a:r>
            <a:r>
              <a:rPr lang="fr-FR" sz="650" noProof="0" dirty="0">
                <a:solidFill>
                  <a:schemeClr val="tx1"/>
                </a:solidFill>
              </a:rPr>
              <a:t>Touche </a:t>
            </a:r>
            <a:r>
              <a:rPr lang="fr-FR" sz="650" noProof="0" dirty="0" err="1">
                <a:solidFill>
                  <a:schemeClr val="tx1"/>
                </a:solidFill>
              </a:rPr>
              <a:t>Tohmatsu</a:t>
            </a:r>
            <a:r>
              <a:rPr lang="fr-FR" sz="650" noProof="0" dirty="0">
                <a:solidFill>
                  <a:schemeClr val="tx1"/>
                </a:solidFill>
              </a:rPr>
              <a:t> </a:t>
            </a:r>
            <a:r>
              <a:rPr lang="fr-FR" sz="650" noProof="0" dirty="0" smtClean="0">
                <a:solidFill>
                  <a:schemeClr val="tx1"/>
                </a:solidFill>
              </a:rPr>
              <a:t>Limited. All</a:t>
            </a:r>
            <a:r>
              <a:rPr lang="fr-FR" sz="650" baseline="0" noProof="0" dirty="0" smtClean="0">
                <a:solidFill>
                  <a:schemeClr val="tx1"/>
                </a:solidFill>
              </a:rPr>
              <a:t> </a:t>
            </a:r>
            <a:r>
              <a:rPr lang="fr-FR" sz="650" baseline="0" noProof="0" dirty="0" err="1" smtClean="0">
                <a:solidFill>
                  <a:schemeClr val="tx1"/>
                </a:solidFill>
              </a:rPr>
              <a:t>rights</a:t>
            </a:r>
            <a:r>
              <a:rPr lang="fr-FR" sz="650" baseline="0" noProof="0" dirty="0" smtClean="0">
                <a:solidFill>
                  <a:schemeClr val="tx1"/>
                </a:solidFill>
              </a:rPr>
              <a:t> </a:t>
            </a:r>
            <a:r>
              <a:rPr lang="fr-FR" sz="650" baseline="0" noProof="0" dirty="0" err="1" smtClean="0">
                <a:solidFill>
                  <a:schemeClr val="tx1"/>
                </a:solidFill>
              </a:rPr>
              <a:t>reserved</a:t>
            </a:r>
            <a:endParaRPr lang="fr-FR" sz="650" baseline="0" noProof="0" dirty="0" smtClean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104440" y="0"/>
            <a:ext cx="2087560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b="1">
              <a:solidFill>
                <a:schemeClr val="bg2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275095" y="6309311"/>
            <a:ext cx="172481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r>
              <a:rPr lang="en-US" sz="1100" noProof="0" dirty="0">
                <a:solidFill>
                  <a:schemeClr val="accent6"/>
                </a:solidFill>
              </a:rPr>
              <a:t>Slide </a:t>
            </a:r>
            <a:fld id="{C58DF478-B544-4ED8-9ED4-6A2648E2D233}" type="slidenum">
              <a:rPr lang="en-US" sz="1100" noProof="0" smtClean="0">
                <a:solidFill>
                  <a:schemeClr val="accent6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r>
              <a:rPr lang="en-US" sz="1100" noProof="0" dirty="0">
                <a:solidFill>
                  <a:schemeClr val="accent6"/>
                </a:solidFill>
              </a:rPr>
              <a:t> of </a:t>
            </a:r>
            <a:r>
              <a:rPr lang="en-US" sz="1100" noProof="0" dirty="0" smtClean="0">
                <a:solidFill>
                  <a:schemeClr val="accent6"/>
                </a:solidFill>
              </a:rPr>
              <a:t>47</a:t>
            </a:r>
            <a:endParaRPr lang="en-US" sz="1100" noProof="0" dirty="0">
              <a:solidFill>
                <a:schemeClr val="accent6"/>
              </a:solidFill>
            </a:endParaRPr>
          </a:p>
        </p:txBody>
      </p:sp>
      <p:sp>
        <p:nvSpPr>
          <p:cNvPr id="9" name="Freeform 314">
            <a:hlinkClick r:id="rId27" action="ppaction://hlinksldjump"/>
          </p:cNvPr>
          <p:cNvSpPr>
            <a:spLocks noChangeAspect="1" noEditPoints="1"/>
          </p:cNvSpPr>
          <p:nvPr userDrawn="1"/>
        </p:nvSpPr>
        <p:spPr bwMode="auto">
          <a:xfrm>
            <a:off x="11634674" y="388541"/>
            <a:ext cx="367041" cy="367041"/>
          </a:xfrm>
          <a:custGeom>
            <a:avLst/>
            <a:gdLst>
              <a:gd name="T0" fmla="*/ 213 w 512"/>
              <a:gd name="T1" fmla="*/ 245 h 512"/>
              <a:gd name="T2" fmla="*/ 192 w 512"/>
              <a:gd name="T3" fmla="*/ 266 h 512"/>
              <a:gd name="T4" fmla="*/ 320 w 512"/>
              <a:gd name="T5" fmla="*/ 245 h 512"/>
              <a:gd name="T6" fmla="*/ 298 w 512"/>
              <a:gd name="T7" fmla="*/ 266 h 512"/>
              <a:gd name="T8" fmla="*/ 320 w 512"/>
              <a:gd name="T9" fmla="*/ 245 h 512"/>
              <a:gd name="T10" fmla="*/ 256 w 512"/>
              <a:gd name="T11" fmla="*/ 512 h 512"/>
              <a:gd name="T12" fmla="*/ 256 w 512"/>
              <a:gd name="T13" fmla="*/ 0 h 512"/>
              <a:gd name="T14" fmla="*/ 412 w 512"/>
              <a:gd name="T15" fmla="*/ 226 h 512"/>
              <a:gd name="T16" fmla="*/ 249 w 512"/>
              <a:gd name="T17" fmla="*/ 98 h 512"/>
              <a:gd name="T18" fmla="*/ 96 w 512"/>
              <a:gd name="T19" fmla="*/ 238 h 512"/>
              <a:gd name="T20" fmla="*/ 128 w 512"/>
              <a:gd name="T21" fmla="*/ 245 h 512"/>
              <a:gd name="T22" fmla="*/ 138 w 512"/>
              <a:gd name="T23" fmla="*/ 394 h 512"/>
              <a:gd name="T24" fmla="*/ 245 w 512"/>
              <a:gd name="T25" fmla="*/ 384 h 512"/>
              <a:gd name="T26" fmla="*/ 266 w 512"/>
              <a:gd name="T27" fmla="*/ 330 h 512"/>
              <a:gd name="T28" fmla="*/ 277 w 512"/>
              <a:gd name="T29" fmla="*/ 394 h 512"/>
              <a:gd name="T30" fmla="*/ 384 w 512"/>
              <a:gd name="T31" fmla="*/ 384 h 512"/>
              <a:gd name="T32" fmla="*/ 405 w 512"/>
              <a:gd name="T33" fmla="*/ 245 h 512"/>
              <a:gd name="T34" fmla="*/ 412 w 512"/>
              <a:gd name="T35" fmla="*/ 226 h 512"/>
              <a:gd name="T36" fmla="*/ 376 w 512"/>
              <a:gd name="T37" fmla="*/ 224 h 512"/>
              <a:gd name="T38" fmla="*/ 362 w 512"/>
              <a:gd name="T39" fmla="*/ 234 h 512"/>
              <a:gd name="T40" fmla="*/ 288 w 512"/>
              <a:gd name="T41" fmla="*/ 373 h 512"/>
              <a:gd name="T42" fmla="*/ 277 w 512"/>
              <a:gd name="T43" fmla="*/ 309 h 512"/>
              <a:gd name="T44" fmla="*/ 224 w 512"/>
              <a:gd name="T45" fmla="*/ 320 h 512"/>
              <a:gd name="T46" fmla="*/ 149 w 512"/>
              <a:gd name="T47" fmla="*/ 373 h 512"/>
              <a:gd name="T48" fmla="*/ 138 w 512"/>
              <a:gd name="T49" fmla="*/ 224 h 512"/>
              <a:gd name="T50" fmla="*/ 256 w 512"/>
              <a:gd name="T51" fmla="*/ 120 h 512"/>
              <a:gd name="T52" fmla="*/ 224 w 512"/>
              <a:gd name="T53" fmla="*/ 224 h 512"/>
              <a:gd name="T54" fmla="*/ 170 w 512"/>
              <a:gd name="T55" fmla="*/ 234 h 512"/>
              <a:gd name="T56" fmla="*/ 181 w 512"/>
              <a:gd name="T57" fmla="*/ 288 h 512"/>
              <a:gd name="T58" fmla="*/ 234 w 512"/>
              <a:gd name="T59" fmla="*/ 277 h 512"/>
              <a:gd name="T60" fmla="*/ 277 w 512"/>
              <a:gd name="T61" fmla="*/ 277 h 512"/>
              <a:gd name="T62" fmla="*/ 330 w 512"/>
              <a:gd name="T63" fmla="*/ 288 h 512"/>
              <a:gd name="T64" fmla="*/ 341 w 512"/>
              <a:gd name="T65" fmla="*/ 234 h 512"/>
              <a:gd name="T66" fmla="*/ 288 w 512"/>
              <a:gd name="T67" fmla="*/ 224 h 512"/>
              <a:gd name="T68" fmla="*/ 277 w 512"/>
              <a:gd name="T69" fmla="*/ 27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192" y="245"/>
                </a:moveTo>
                <a:cubicBezTo>
                  <a:pt x="213" y="245"/>
                  <a:pt x="213" y="245"/>
                  <a:pt x="213" y="245"/>
                </a:cubicBezTo>
                <a:cubicBezTo>
                  <a:pt x="213" y="266"/>
                  <a:pt x="213" y="266"/>
                  <a:pt x="213" y="266"/>
                </a:cubicBezTo>
                <a:cubicBezTo>
                  <a:pt x="192" y="266"/>
                  <a:pt x="192" y="266"/>
                  <a:pt x="192" y="266"/>
                </a:cubicBezTo>
                <a:lnTo>
                  <a:pt x="192" y="245"/>
                </a:lnTo>
                <a:close/>
                <a:moveTo>
                  <a:pt x="320" y="245"/>
                </a:moveTo>
                <a:cubicBezTo>
                  <a:pt x="298" y="245"/>
                  <a:pt x="298" y="245"/>
                  <a:pt x="298" y="245"/>
                </a:cubicBezTo>
                <a:cubicBezTo>
                  <a:pt x="298" y="266"/>
                  <a:pt x="298" y="266"/>
                  <a:pt x="298" y="266"/>
                </a:cubicBezTo>
                <a:cubicBezTo>
                  <a:pt x="320" y="266"/>
                  <a:pt x="320" y="266"/>
                  <a:pt x="320" y="266"/>
                </a:cubicBezTo>
                <a:lnTo>
                  <a:pt x="320" y="245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2" y="226"/>
                </a:moveTo>
                <a:cubicBezTo>
                  <a:pt x="263" y="98"/>
                  <a:pt x="263" y="98"/>
                  <a:pt x="263" y="98"/>
                </a:cubicBezTo>
                <a:cubicBezTo>
                  <a:pt x="259" y="95"/>
                  <a:pt x="253" y="95"/>
                  <a:pt x="249" y="98"/>
                </a:cubicBezTo>
                <a:cubicBezTo>
                  <a:pt x="99" y="226"/>
                  <a:pt x="99" y="226"/>
                  <a:pt x="99" y="226"/>
                </a:cubicBezTo>
                <a:cubicBezTo>
                  <a:pt x="96" y="229"/>
                  <a:pt x="95" y="234"/>
                  <a:pt x="96" y="238"/>
                </a:cubicBezTo>
                <a:cubicBezTo>
                  <a:pt x="98" y="242"/>
                  <a:pt x="102" y="245"/>
                  <a:pt x="106" y="245"/>
                </a:cubicBezTo>
                <a:cubicBezTo>
                  <a:pt x="128" y="245"/>
                  <a:pt x="128" y="245"/>
                  <a:pt x="128" y="245"/>
                </a:cubicBezTo>
                <a:cubicBezTo>
                  <a:pt x="128" y="384"/>
                  <a:pt x="128" y="384"/>
                  <a:pt x="128" y="384"/>
                </a:cubicBezTo>
                <a:cubicBezTo>
                  <a:pt x="128" y="390"/>
                  <a:pt x="132" y="394"/>
                  <a:pt x="138" y="394"/>
                </a:cubicBezTo>
                <a:cubicBezTo>
                  <a:pt x="234" y="394"/>
                  <a:pt x="234" y="394"/>
                  <a:pt x="234" y="394"/>
                </a:cubicBezTo>
                <a:cubicBezTo>
                  <a:pt x="240" y="394"/>
                  <a:pt x="245" y="390"/>
                  <a:pt x="245" y="384"/>
                </a:cubicBezTo>
                <a:cubicBezTo>
                  <a:pt x="245" y="330"/>
                  <a:pt x="245" y="330"/>
                  <a:pt x="245" y="330"/>
                </a:cubicBezTo>
                <a:cubicBezTo>
                  <a:pt x="266" y="330"/>
                  <a:pt x="266" y="330"/>
                  <a:pt x="266" y="330"/>
                </a:cubicBezTo>
                <a:cubicBezTo>
                  <a:pt x="266" y="384"/>
                  <a:pt x="266" y="384"/>
                  <a:pt x="266" y="384"/>
                </a:cubicBezTo>
                <a:cubicBezTo>
                  <a:pt x="266" y="390"/>
                  <a:pt x="271" y="394"/>
                  <a:pt x="277" y="394"/>
                </a:cubicBezTo>
                <a:cubicBezTo>
                  <a:pt x="373" y="394"/>
                  <a:pt x="373" y="394"/>
                  <a:pt x="373" y="394"/>
                </a:cubicBezTo>
                <a:cubicBezTo>
                  <a:pt x="379" y="394"/>
                  <a:pt x="384" y="390"/>
                  <a:pt x="384" y="384"/>
                </a:cubicBezTo>
                <a:cubicBezTo>
                  <a:pt x="384" y="245"/>
                  <a:pt x="384" y="245"/>
                  <a:pt x="384" y="245"/>
                </a:cubicBezTo>
                <a:cubicBezTo>
                  <a:pt x="405" y="245"/>
                  <a:pt x="405" y="245"/>
                  <a:pt x="405" y="245"/>
                </a:cubicBezTo>
                <a:cubicBezTo>
                  <a:pt x="409" y="245"/>
                  <a:pt x="413" y="242"/>
                  <a:pt x="415" y="238"/>
                </a:cubicBezTo>
                <a:cubicBezTo>
                  <a:pt x="417" y="234"/>
                  <a:pt x="415" y="229"/>
                  <a:pt x="412" y="226"/>
                </a:cubicBezTo>
                <a:close/>
                <a:moveTo>
                  <a:pt x="256" y="120"/>
                </a:moveTo>
                <a:cubicBezTo>
                  <a:pt x="376" y="224"/>
                  <a:pt x="376" y="224"/>
                  <a:pt x="376" y="224"/>
                </a:cubicBezTo>
                <a:cubicBezTo>
                  <a:pt x="373" y="224"/>
                  <a:pt x="373" y="224"/>
                  <a:pt x="373" y="224"/>
                </a:cubicBezTo>
                <a:cubicBezTo>
                  <a:pt x="367" y="224"/>
                  <a:pt x="362" y="228"/>
                  <a:pt x="362" y="234"/>
                </a:cubicBezTo>
                <a:cubicBezTo>
                  <a:pt x="362" y="373"/>
                  <a:pt x="362" y="373"/>
                  <a:pt x="362" y="373"/>
                </a:cubicBezTo>
                <a:cubicBezTo>
                  <a:pt x="288" y="373"/>
                  <a:pt x="288" y="373"/>
                  <a:pt x="288" y="373"/>
                </a:cubicBezTo>
                <a:cubicBezTo>
                  <a:pt x="288" y="320"/>
                  <a:pt x="288" y="320"/>
                  <a:pt x="288" y="320"/>
                </a:cubicBezTo>
                <a:cubicBezTo>
                  <a:pt x="288" y="314"/>
                  <a:pt x="283" y="309"/>
                  <a:pt x="277" y="309"/>
                </a:cubicBezTo>
                <a:cubicBezTo>
                  <a:pt x="234" y="309"/>
                  <a:pt x="234" y="309"/>
                  <a:pt x="234" y="309"/>
                </a:cubicBezTo>
                <a:cubicBezTo>
                  <a:pt x="228" y="309"/>
                  <a:pt x="224" y="314"/>
                  <a:pt x="224" y="320"/>
                </a:cubicBezTo>
                <a:cubicBezTo>
                  <a:pt x="224" y="373"/>
                  <a:pt x="224" y="373"/>
                  <a:pt x="224" y="373"/>
                </a:cubicBezTo>
                <a:cubicBezTo>
                  <a:pt x="149" y="373"/>
                  <a:pt x="149" y="373"/>
                  <a:pt x="149" y="373"/>
                </a:cubicBezTo>
                <a:cubicBezTo>
                  <a:pt x="149" y="234"/>
                  <a:pt x="149" y="234"/>
                  <a:pt x="149" y="234"/>
                </a:cubicBezTo>
                <a:cubicBezTo>
                  <a:pt x="149" y="228"/>
                  <a:pt x="144" y="224"/>
                  <a:pt x="138" y="224"/>
                </a:cubicBezTo>
                <a:cubicBezTo>
                  <a:pt x="135" y="224"/>
                  <a:pt x="135" y="224"/>
                  <a:pt x="135" y="224"/>
                </a:cubicBezTo>
                <a:lnTo>
                  <a:pt x="256" y="120"/>
                </a:lnTo>
                <a:close/>
                <a:moveTo>
                  <a:pt x="234" y="234"/>
                </a:moveTo>
                <a:cubicBezTo>
                  <a:pt x="234" y="228"/>
                  <a:pt x="230" y="224"/>
                  <a:pt x="224" y="224"/>
                </a:cubicBezTo>
                <a:cubicBezTo>
                  <a:pt x="181" y="224"/>
                  <a:pt x="181" y="224"/>
                  <a:pt x="181" y="224"/>
                </a:cubicBezTo>
                <a:cubicBezTo>
                  <a:pt x="175" y="224"/>
                  <a:pt x="170" y="228"/>
                  <a:pt x="170" y="234"/>
                </a:cubicBezTo>
                <a:cubicBezTo>
                  <a:pt x="170" y="277"/>
                  <a:pt x="170" y="277"/>
                  <a:pt x="170" y="277"/>
                </a:cubicBezTo>
                <a:cubicBezTo>
                  <a:pt x="170" y="283"/>
                  <a:pt x="175" y="288"/>
                  <a:pt x="181" y="288"/>
                </a:cubicBezTo>
                <a:cubicBezTo>
                  <a:pt x="224" y="288"/>
                  <a:pt x="224" y="288"/>
                  <a:pt x="224" y="288"/>
                </a:cubicBezTo>
                <a:cubicBezTo>
                  <a:pt x="230" y="288"/>
                  <a:pt x="234" y="283"/>
                  <a:pt x="234" y="277"/>
                </a:cubicBezTo>
                <a:lnTo>
                  <a:pt x="234" y="234"/>
                </a:lnTo>
                <a:close/>
                <a:moveTo>
                  <a:pt x="277" y="277"/>
                </a:moveTo>
                <a:cubicBezTo>
                  <a:pt x="277" y="283"/>
                  <a:pt x="282" y="288"/>
                  <a:pt x="288" y="288"/>
                </a:cubicBezTo>
                <a:cubicBezTo>
                  <a:pt x="330" y="288"/>
                  <a:pt x="330" y="288"/>
                  <a:pt x="330" y="288"/>
                </a:cubicBezTo>
                <a:cubicBezTo>
                  <a:pt x="336" y="288"/>
                  <a:pt x="341" y="283"/>
                  <a:pt x="341" y="277"/>
                </a:cubicBezTo>
                <a:cubicBezTo>
                  <a:pt x="341" y="234"/>
                  <a:pt x="341" y="234"/>
                  <a:pt x="341" y="234"/>
                </a:cubicBezTo>
                <a:cubicBezTo>
                  <a:pt x="341" y="228"/>
                  <a:pt x="336" y="224"/>
                  <a:pt x="330" y="224"/>
                </a:cubicBezTo>
                <a:cubicBezTo>
                  <a:pt x="288" y="224"/>
                  <a:pt x="288" y="224"/>
                  <a:pt x="288" y="224"/>
                </a:cubicBezTo>
                <a:cubicBezTo>
                  <a:pt x="282" y="224"/>
                  <a:pt x="277" y="228"/>
                  <a:pt x="277" y="234"/>
                </a:cubicBezTo>
                <a:lnTo>
                  <a:pt x="277" y="277"/>
                </a:lnTo>
                <a:close/>
              </a:path>
            </a:pathLst>
          </a:custGeom>
          <a:solidFill>
            <a:srgbClr val="BBBCBC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0955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  <p:sldLayoutId id="2147483721" r:id="rId14"/>
    <p:sldLayoutId id="2147483722" r:id="rId15"/>
    <p:sldLayoutId id="2147483723" r:id="rId16"/>
    <p:sldLayoutId id="2147483724" r:id="rId17"/>
    <p:sldLayoutId id="2147483725" r:id="rId18"/>
    <p:sldLayoutId id="2147483726" r:id="rId19"/>
    <p:sldLayoutId id="2147483727" r:id="rId20"/>
    <p:sldLayoutId id="2147483728" r:id="rId21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600"/>
        </a:spcBef>
        <a:spcAft>
          <a:spcPts val="6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600"/>
        </a:spcBef>
        <a:spcAft>
          <a:spcPts val="600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1219170" rtl="0" eaLnBrk="1" latinLnBrk="0" hangingPunct="1">
        <a:spcBef>
          <a:spcPts val="60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1219170" rtl="0" eaLnBrk="1" latinLnBrk="0" hangingPunct="1">
        <a:spcBef>
          <a:spcPts val="600"/>
        </a:spcBef>
        <a:spcAft>
          <a:spcPts val="6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1064657" rtl="0" eaLnBrk="1" latinLnBrk="0" hangingPunct="1">
        <a:spcBef>
          <a:spcPts val="60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0">
          <p15:clr>
            <a:srgbClr val="A4A3A4"/>
          </p15:clr>
        </p15:guide>
        <p15:guide id="2" orient="horz" pos="2160">
          <p15:clr>
            <a:srgbClr val="A4A3A4"/>
          </p15:clr>
        </p15:guide>
        <p15:guide id="3" orient="horz" pos="3968">
          <p15:clr>
            <a:srgbClr val="A4A3A4"/>
          </p15:clr>
        </p15:guide>
        <p15:guide id="4" pos="296">
          <p15:clr>
            <a:srgbClr val="A4A3A4"/>
          </p15:clr>
        </p15:guide>
        <p15:guide id="5" pos="6068">
          <p15:clr>
            <a:srgbClr val="A4A3A4"/>
          </p15:clr>
        </p15:guide>
        <p15:guide id="6" orient="horz" pos="1071">
          <p15:clr>
            <a:srgbClr val="A4A3A4"/>
          </p15:clr>
        </p15:guide>
        <p15:guide id="7" orient="horz" pos="245">
          <p15:clr>
            <a:srgbClr val="A4A3A4"/>
          </p15:clr>
        </p15:guide>
        <p15:guide id="8" orient="horz" pos="4081">
          <p15:clr>
            <a:srgbClr val="A4A3A4"/>
          </p15:clr>
        </p15:guide>
        <p15:guide id="10" pos="4106">
          <p15:clr>
            <a:srgbClr val="A4A3A4"/>
          </p15:clr>
        </p15:guide>
        <p15:guide id="12" pos="1163">
          <p15:clr>
            <a:srgbClr val="A4A3A4"/>
          </p15:clr>
        </p15:guide>
        <p15:guide id="13" pos="1277">
          <p15:clr>
            <a:srgbClr val="A4A3A4"/>
          </p15:clr>
        </p15:guide>
        <p15:guide id="14" pos="2144">
          <p15:clr>
            <a:srgbClr val="A4A3A4"/>
          </p15:clr>
        </p15:guide>
        <p15:guide id="15" pos="2258">
          <p15:clr>
            <a:srgbClr val="A4A3A4"/>
          </p15:clr>
        </p15:guide>
        <p15:guide id="16" pos="5087">
          <p15:clr>
            <a:srgbClr val="A4A3A4"/>
          </p15:clr>
        </p15:guide>
        <p15:guide id="17" pos="3125">
          <p15:clr>
            <a:srgbClr val="A4A3A4"/>
          </p15:clr>
        </p15:guide>
        <p15:guide id="18" pos="3182">
          <p15:clr>
            <a:srgbClr val="A4A3A4"/>
          </p15:clr>
        </p15:guide>
        <p15:guide id="19" pos="3239">
          <p15:clr>
            <a:srgbClr val="A4A3A4"/>
          </p15:clr>
        </p15:guide>
        <p15:guide id="20" pos="5201">
          <p15:clr>
            <a:srgbClr val="A4A3A4"/>
          </p15:clr>
        </p15:guide>
        <p15:guide id="21" orient="horz" pos="1049">
          <p15:clr>
            <a:srgbClr val="A4A3A4"/>
          </p15:clr>
        </p15:guide>
        <p15:guide id="22" orient="horz" pos="641">
          <p15:clr>
            <a:srgbClr val="A4A3A4"/>
          </p15:clr>
        </p15:guide>
        <p15:guide id="23" orient="horz" pos="288">
          <p15:clr>
            <a:srgbClr val="A4A3A4"/>
          </p15:clr>
        </p15:guide>
        <p15:guide id="24" pos="7559">
          <p15:clr>
            <a:srgbClr val="A4A3A4"/>
          </p15:clr>
        </p15:guide>
        <p15:guide id="25" pos="6365">
          <p15:clr>
            <a:srgbClr val="A4A3A4"/>
          </p15:clr>
        </p15:guide>
        <p15:guide id="26" pos="647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" Target="slide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wmf"/><Relationship Id="rId3" Type="http://schemas.openxmlformats.org/officeDocument/2006/relationships/notesSlide" Target="../notesSlides/notesSlide6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5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w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wmf"/><Relationship Id="rId3" Type="http://schemas.openxmlformats.org/officeDocument/2006/relationships/notesSlide" Target="../notesSlides/notesSlide7.xml"/><Relationship Id="rId7" Type="http://schemas.openxmlformats.org/officeDocument/2006/relationships/oleObject" Target="../embeddings/oleObject6.bin"/><Relationship Id="rId2" Type="http://schemas.openxmlformats.org/officeDocument/2006/relationships/slideLayout" Target="../slideLayouts/slideLayout5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0.w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12.wmf"/><Relationship Id="rId4" Type="http://schemas.openxmlformats.org/officeDocument/2006/relationships/chart" Target="../charts/chart1.xml"/><Relationship Id="rId9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4.wmf"/><Relationship Id="rId2" Type="http://schemas.openxmlformats.org/officeDocument/2006/relationships/slideLayout" Target="../slideLayouts/slideLayout52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13.w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15.w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wmf"/><Relationship Id="rId3" Type="http://schemas.openxmlformats.org/officeDocument/2006/relationships/slideLayout" Target="../slideLayouts/slideLayout52.xml"/><Relationship Id="rId7" Type="http://schemas.openxmlformats.org/officeDocument/2006/relationships/oleObject" Target="../embeddings/oleObject12.bin"/><Relationship Id="rId2" Type="http://schemas.openxmlformats.org/officeDocument/2006/relationships/vmlDrawing" Target="../drawings/vmlDrawing8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6.wmf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18.wmf"/><Relationship Id="rId4" Type="http://schemas.openxmlformats.org/officeDocument/2006/relationships/notesSlide" Target="../notesSlides/notesSlide9.xml"/><Relationship Id="rId9" Type="http://schemas.openxmlformats.org/officeDocument/2006/relationships/oleObject" Target="../embeddings/oleObject1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4442" y="723383"/>
            <a:ext cx="5400000" cy="5400000"/>
          </a:xfrm>
          <a:prstGeom prst="rect">
            <a:avLst/>
          </a:prstGeom>
        </p:spPr>
      </p:pic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75200" y="5496233"/>
            <a:ext cx="7152516" cy="847488"/>
          </a:xfrm>
        </p:spPr>
        <p:txBody>
          <a:bodyPr/>
          <a:lstStyle/>
          <a:p>
            <a:r>
              <a:rPr lang="en-US" dirty="0" err="1" smtClean="0"/>
              <a:t>Propuesta</a:t>
            </a:r>
            <a:r>
              <a:rPr lang="en-US" dirty="0" smtClean="0"/>
              <a:t> de </a:t>
            </a:r>
            <a:r>
              <a:rPr lang="en-US" dirty="0" err="1" smtClean="0"/>
              <a:t>Consultoría</a:t>
            </a:r>
            <a:endParaRPr lang="en-US" dirty="0" smtClean="0"/>
          </a:p>
          <a:p>
            <a:r>
              <a:rPr lang="en-US" b="0" dirty="0" err="1" smtClean="0"/>
              <a:t>Implementación</a:t>
            </a:r>
            <a:r>
              <a:rPr lang="en-US" b="0" dirty="0" smtClean="0"/>
              <a:t> Outsourcing Contable con SAP Business One </a:t>
            </a:r>
            <a:endParaRPr lang="en-US" b="0" dirty="0"/>
          </a:p>
          <a:p>
            <a:pPr lvl="1"/>
            <a:r>
              <a:rPr lang="en-US" dirty="0" err="1" smtClean="0"/>
              <a:t>Grupo</a:t>
            </a:r>
            <a:r>
              <a:rPr lang="en-US" dirty="0" smtClean="0"/>
              <a:t> Johnson &amp; Johnson de Venezuela </a:t>
            </a:r>
            <a:r>
              <a:rPr lang="en-US" b="1" dirty="0" smtClean="0"/>
              <a:t>RIF. J-000530203</a:t>
            </a:r>
            <a:endParaRPr lang="en-US" b="1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 smtClean="0"/>
              <a:t>Julio, 2020</a:t>
            </a:r>
            <a:endParaRPr lang="en-US" noProof="0" dirty="0"/>
          </a:p>
        </p:txBody>
      </p:sp>
      <p:sp>
        <p:nvSpPr>
          <p:cNvPr id="10" name="Freeform 88">
            <a:hlinkClick r:id="" action="ppaction://hlinkshowjump?jump=nextslide"/>
          </p:cNvPr>
          <p:cNvSpPr>
            <a:spLocks noChangeAspect="1" noEditPoints="1"/>
          </p:cNvSpPr>
          <p:nvPr/>
        </p:nvSpPr>
        <p:spPr bwMode="auto">
          <a:xfrm>
            <a:off x="11379261" y="5920885"/>
            <a:ext cx="367041" cy="36704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192 w 512"/>
              <a:gd name="T11" fmla="*/ 416 h 512"/>
              <a:gd name="T12" fmla="*/ 184 w 512"/>
              <a:gd name="T13" fmla="*/ 413 h 512"/>
              <a:gd name="T14" fmla="*/ 184 w 512"/>
              <a:gd name="T15" fmla="*/ 397 h 512"/>
              <a:gd name="T16" fmla="*/ 326 w 512"/>
              <a:gd name="T17" fmla="*/ 256 h 512"/>
              <a:gd name="T18" fmla="*/ 184 w 512"/>
              <a:gd name="T19" fmla="*/ 114 h 512"/>
              <a:gd name="T20" fmla="*/ 184 w 512"/>
              <a:gd name="T21" fmla="*/ 99 h 512"/>
              <a:gd name="T22" fmla="*/ 199 w 512"/>
              <a:gd name="T23" fmla="*/ 99 h 512"/>
              <a:gd name="T24" fmla="*/ 349 w 512"/>
              <a:gd name="T25" fmla="*/ 248 h 512"/>
              <a:gd name="T26" fmla="*/ 349 w 512"/>
              <a:gd name="T27" fmla="*/ 263 h 512"/>
              <a:gd name="T28" fmla="*/ 199 w 512"/>
              <a:gd name="T29" fmla="*/ 413 h 512"/>
              <a:gd name="T30" fmla="*/ 192 w 512"/>
              <a:gd name="T31" fmla="*/ 41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92" y="416"/>
                </a:moveTo>
                <a:cubicBezTo>
                  <a:pt x="189" y="416"/>
                  <a:pt x="186" y="415"/>
                  <a:pt x="184" y="413"/>
                </a:cubicBezTo>
                <a:cubicBezTo>
                  <a:pt x="180" y="408"/>
                  <a:pt x="180" y="402"/>
                  <a:pt x="184" y="397"/>
                </a:cubicBezTo>
                <a:cubicBezTo>
                  <a:pt x="326" y="256"/>
                  <a:pt x="326" y="256"/>
                  <a:pt x="326" y="256"/>
                </a:cubicBezTo>
                <a:cubicBezTo>
                  <a:pt x="184" y="114"/>
                  <a:pt x="184" y="114"/>
                  <a:pt x="184" y="114"/>
                </a:cubicBezTo>
                <a:cubicBezTo>
                  <a:pt x="180" y="110"/>
                  <a:pt x="180" y="103"/>
                  <a:pt x="184" y="99"/>
                </a:cubicBezTo>
                <a:cubicBezTo>
                  <a:pt x="188" y="95"/>
                  <a:pt x="195" y="95"/>
                  <a:pt x="199" y="99"/>
                </a:cubicBezTo>
                <a:cubicBezTo>
                  <a:pt x="349" y="248"/>
                  <a:pt x="349" y="248"/>
                  <a:pt x="349" y="248"/>
                </a:cubicBezTo>
                <a:cubicBezTo>
                  <a:pt x="353" y="252"/>
                  <a:pt x="353" y="259"/>
                  <a:pt x="349" y="263"/>
                </a:cubicBezTo>
                <a:cubicBezTo>
                  <a:pt x="199" y="413"/>
                  <a:pt x="199" y="413"/>
                  <a:pt x="199" y="413"/>
                </a:cubicBezTo>
                <a:cubicBezTo>
                  <a:pt x="197" y="415"/>
                  <a:pt x="194" y="416"/>
                  <a:pt x="192" y="416"/>
                </a:cubicBezTo>
                <a:close/>
              </a:path>
            </a:pathLst>
          </a:custGeom>
          <a:solidFill>
            <a:srgbClr val="A7A8AA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621" b="39862"/>
          <a:stretch/>
        </p:blipFill>
        <p:spPr>
          <a:xfrm>
            <a:off x="9544977" y="337947"/>
            <a:ext cx="2451607" cy="527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6401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88">
            <a:hlinkClick r:id="rId3" action="ppaction://hlinksldjump"/>
          </p:cNvPr>
          <p:cNvSpPr>
            <a:spLocks noChangeAspect="1" noEditPoints="1"/>
          </p:cNvSpPr>
          <p:nvPr/>
        </p:nvSpPr>
        <p:spPr bwMode="auto">
          <a:xfrm>
            <a:off x="11379261" y="5920885"/>
            <a:ext cx="367041" cy="36704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192 w 512"/>
              <a:gd name="T11" fmla="*/ 416 h 512"/>
              <a:gd name="T12" fmla="*/ 184 w 512"/>
              <a:gd name="T13" fmla="*/ 413 h 512"/>
              <a:gd name="T14" fmla="*/ 184 w 512"/>
              <a:gd name="T15" fmla="*/ 397 h 512"/>
              <a:gd name="T16" fmla="*/ 326 w 512"/>
              <a:gd name="T17" fmla="*/ 256 h 512"/>
              <a:gd name="T18" fmla="*/ 184 w 512"/>
              <a:gd name="T19" fmla="*/ 114 h 512"/>
              <a:gd name="T20" fmla="*/ 184 w 512"/>
              <a:gd name="T21" fmla="*/ 99 h 512"/>
              <a:gd name="T22" fmla="*/ 199 w 512"/>
              <a:gd name="T23" fmla="*/ 99 h 512"/>
              <a:gd name="T24" fmla="*/ 349 w 512"/>
              <a:gd name="T25" fmla="*/ 248 h 512"/>
              <a:gd name="T26" fmla="*/ 349 w 512"/>
              <a:gd name="T27" fmla="*/ 263 h 512"/>
              <a:gd name="T28" fmla="*/ 199 w 512"/>
              <a:gd name="T29" fmla="*/ 413 h 512"/>
              <a:gd name="T30" fmla="*/ 192 w 512"/>
              <a:gd name="T31" fmla="*/ 41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92" y="416"/>
                </a:moveTo>
                <a:cubicBezTo>
                  <a:pt x="189" y="416"/>
                  <a:pt x="186" y="415"/>
                  <a:pt x="184" y="413"/>
                </a:cubicBezTo>
                <a:cubicBezTo>
                  <a:pt x="180" y="408"/>
                  <a:pt x="180" y="402"/>
                  <a:pt x="184" y="397"/>
                </a:cubicBezTo>
                <a:cubicBezTo>
                  <a:pt x="326" y="256"/>
                  <a:pt x="326" y="256"/>
                  <a:pt x="326" y="256"/>
                </a:cubicBezTo>
                <a:cubicBezTo>
                  <a:pt x="184" y="114"/>
                  <a:pt x="184" y="114"/>
                  <a:pt x="184" y="114"/>
                </a:cubicBezTo>
                <a:cubicBezTo>
                  <a:pt x="180" y="110"/>
                  <a:pt x="180" y="103"/>
                  <a:pt x="184" y="99"/>
                </a:cubicBezTo>
                <a:cubicBezTo>
                  <a:pt x="188" y="95"/>
                  <a:pt x="195" y="95"/>
                  <a:pt x="199" y="99"/>
                </a:cubicBezTo>
                <a:cubicBezTo>
                  <a:pt x="349" y="248"/>
                  <a:pt x="349" y="248"/>
                  <a:pt x="349" y="248"/>
                </a:cubicBezTo>
                <a:cubicBezTo>
                  <a:pt x="353" y="252"/>
                  <a:pt x="353" y="259"/>
                  <a:pt x="349" y="263"/>
                </a:cubicBezTo>
                <a:cubicBezTo>
                  <a:pt x="199" y="413"/>
                  <a:pt x="199" y="413"/>
                  <a:pt x="199" y="413"/>
                </a:cubicBezTo>
                <a:cubicBezTo>
                  <a:pt x="197" y="415"/>
                  <a:pt x="194" y="416"/>
                  <a:pt x="192" y="416"/>
                </a:cubicBezTo>
                <a:close/>
              </a:path>
            </a:pathLst>
          </a:custGeom>
          <a:solidFill>
            <a:srgbClr val="A7A8AA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449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4"/>
          <p:cNvSpPr>
            <a:spLocks noGrp="1"/>
          </p:cNvSpPr>
          <p:nvPr>
            <p:ph type="body" sz="quarter" idx="13"/>
          </p:nvPr>
        </p:nvSpPr>
        <p:spPr>
          <a:xfrm>
            <a:off x="469901" y="822362"/>
            <a:ext cx="9163050" cy="757255"/>
          </a:xfrm>
        </p:spPr>
        <p:txBody>
          <a:bodyPr/>
          <a:lstStyle/>
          <a:p>
            <a:r>
              <a:rPr lang="en-US" sz="1400" b="1" dirty="0" err="1" smtClean="0"/>
              <a:t>Grupo</a:t>
            </a:r>
            <a:r>
              <a:rPr lang="en-US" sz="1400" b="1" dirty="0" smtClean="0"/>
              <a:t> Johnson &amp; Johnson de Venezuela, </a:t>
            </a:r>
            <a:r>
              <a:rPr lang="en-US" sz="1400" noProof="0" dirty="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ha </a:t>
            </a:r>
            <a:r>
              <a:rPr lang="en-US" sz="1400" noProof="0" dirty="0" err="1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olicitado</a:t>
            </a:r>
            <a:r>
              <a:rPr lang="en-US" sz="1400" noProof="0" dirty="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a Deloitte la </a:t>
            </a:r>
            <a:r>
              <a:rPr lang="en-US" sz="1400" noProof="0" dirty="0" err="1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esentación</a:t>
            </a:r>
            <a:r>
              <a:rPr lang="en-US" sz="1400" noProof="0" dirty="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de </a:t>
            </a:r>
            <a:r>
              <a:rPr lang="en-US" sz="1400" noProof="0" dirty="0" err="1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una</a:t>
            </a:r>
            <a:r>
              <a:rPr lang="en-US" sz="1400" noProof="0" dirty="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400" noProof="0" dirty="0" err="1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puesta</a:t>
            </a:r>
            <a:r>
              <a:rPr lang="en-US" sz="1400" noProof="0" dirty="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de </a:t>
            </a:r>
            <a:r>
              <a:rPr lang="en-US" sz="1400" noProof="0" dirty="0" err="1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xplicación</a:t>
            </a:r>
            <a:r>
              <a:rPr lang="en-US" sz="1400" noProof="0" dirty="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del </a:t>
            </a:r>
            <a:r>
              <a:rPr lang="en-US" sz="1400" noProof="0" dirty="0" err="1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nfoque</a:t>
            </a:r>
            <a:r>
              <a:rPr lang="en-US" sz="1400" noProof="0" dirty="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400" noProof="0" dirty="0" err="1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etodológico</a:t>
            </a:r>
            <a:r>
              <a:rPr lang="en-US" sz="1400" noProof="0" dirty="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400" noProof="0" dirty="0" err="1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utilizado</a:t>
            </a:r>
            <a:r>
              <a:rPr lang="en-US" sz="1400" noProof="0" dirty="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para la </a:t>
            </a:r>
            <a:r>
              <a:rPr lang="en-US" sz="1400" noProof="0" dirty="0" err="1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mplementación</a:t>
            </a:r>
            <a:r>
              <a:rPr lang="en-US" sz="1400" noProof="0" dirty="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del outsourcing </a:t>
            </a:r>
            <a:r>
              <a:rPr lang="en-US" sz="1400" noProof="0" dirty="0" err="1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ables</a:t>
            </a:r>
            <a:r>
              <a:rPr lang="en-US" sz="1400" noProof="0" dirty="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con SAP BO, </a:t>
            </a:r>
            <a:r>
              <a:rPr lang="en-US" sz="1400" noProof="0" dirty="0" err="1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mplando</a:t>
            </a:r>
            <a:r>
              <a:rPr lang="en-US" sz="1400" noProof="0" dirty="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400" noProof="0" dirty="0" err="1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lcance</a:t>
            </a:r>
            <a:r>
              <a:rPr lang="en-US" sz="1400" noProof="0" dirty="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, </a:t>
            </a:r>
            <a:r>
              <a:rPr lang="en-US" sz="1400" noProof="0" dirty="0" err="1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bjetivos</a:t>
            </a:r>
            <a:r>
              <a:rPr lang="en-US" sz="1400" noProof="0" dirty="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, </a:t>
            </a:r>
            <a:r>
              <a:rPr lang="en-US" sz="1400" noProof="0" dirty="0" err="1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etodología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,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ntregables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n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da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ase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  <a:endParaRPr lang="en-US" sz="1400" noProof="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sumen</a:t>
            </a:r>
            <a:r>
              <a:rPr lang="en-US" noProof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noProof="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jecutivo</a:t>
            </a:r>
            <a:endParaRPr lang="en-US" noProof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469901" y="1960047"/>
            <a:ext cx="9163050" cy="790464"/>
            <a:chOff x="1188490" y="2111690"/>
            <a:chExt cx="7416000" cy="790464"/>
          </a:xfrm>
        </p:grpSpPr>
        <p:sp>
          <p:nvSpPr>
            <p:cNvPr id="12" name="TextBox 11"/>
            <p:cNvSpPr txBox="1"/>
            <p:nvPr/>
          </p:nvSpPr>
          <p:spPr>
            <a:xfrm>
              <a:off x="1188490" y="2137590"/>
              <a:ext cx="7416000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s-VE" sz="1400" dirty="0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El objetivo de esta propuesta es la </a:t>
              </a:r>
              <a:r>
                <a:rPr lang="en-US" sz="1400" b="1" dirty="0" err="1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</a:t>
              </a:r>
              <a:r>
                <a:rPr lang="en-US" sz="1400" b="1" dirty="0" err="1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mplementación</a:t>
              </a:r>
              <a:r>
                <a:rPr lang="en-US" sz="1400" b="1" dirty="0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del Outsourcing </a:t>
              </a:r>
              <a:r>
                <a:rPr lang="en-US" sz="1400" b="1" dirty="0" err="1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ontables</a:t>
              </a:r>
              <a:r>
                <a:rPr lang="en-US" sz="1400" b="1" dirty="0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con SAP </a:t>
              </a:r>
              <a:r>
                <a:rPr lang="en-US" sz="1400" b="1" dirty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Business </a:t>
              </a:r>
              <a:r>
                <a:rPr lang="en-US" sz="1400" b="1" dirty="0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ne </a:t>
              </a:r>
              <a:r>
                <a:rPr lang="en-US" sz="1400" dirty="0" err="1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en</a:t>
              </a:r>
              <a:r>
                <a:rPr lang="en-US" sz="1400" dirty="0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en-US" sz="1400" b="1" dirty="0" err="1"/>
                <a:t>Grupo</a:t>
              </a:r>
              <a:r>
                <a:rPr lang="en-US" sz="1400" b="1" dirty="0"/>
                <a:t> </a:t>
              </a:r>
              <a:r>
                <a:rPr lang="en-US" sz="1400" b="1" dirty="0" smtClean="0"/>
                <a:t>Johnson &amp; Johnson de Venezuela</a:t>
              </a:r>
              <a:r>
                <a:rPr lang="en-US" sz="1400" dirty="0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, </a:t>
              </a:r>
              <a:r>
                <a:rPr lang="en-US" sz="1400" dirty="0" err="1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iguiendo</a:t>
              </a:r>
              <a:r>
                <a:rPr lang="en-US" sz="1400" dirty="0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los </a:t>
              </a:r>
              <a:r>
                <a:rPr lang="en-US" sz="1400" dirty="0" err="1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lineamientos</a:t>
              </a:r>
              <a:r>
                <a:rPr lang="en-US" sz="1400" dirty="0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en-US" sz="1400" dirty="0" err="1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écnicos</a:t>
              </a:r>
              <a:r>
                <a:rPr lang="en-US" sz="1400" dirty="0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, y las </a:t>
              </a:r>
              <a:r>
                <a:rPr lang="en-US" sz="1400" dirty="0" err="1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onsideraciones</a:t>
              </a:r>
              <a:r>
                <a:rPr lang="en-US" sz="1400" dirty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en-US" sz="1400" dirty="0" err="1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escritas</a:t>
              </a:r>
              <a:r>
                <a:rPr lang="en-US" sz="1400" dirty="0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en la </a:t>
              </a:r>
              <a:r>
                <a:rPr lang="en-US" sz="1400" dirty="0" err="1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misma</a:t>
              </a:r>
              <a:r>
                <a:rPr lang="en-US" sz="1400" dirty="0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.</a:t>
              </a:r>
              <a:endParaRPr lang="es-VE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188490" y="2111690"/>
              <a:ext cx="7416000" cy="790464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VE"/>
            </a:p>
          </p:txBody>
        </p:sp>
      </p:grpSp>
      <p:sp>
        <p:nvSpPr>
          <p:cNvPr id="14" name="Content Placeholder 7"/>
          <p:cNvSpPr txBox="1">
            <a:spLocks/>
          </p:cNvSpPr>
          <p:nvPr/>
        </p:nvSpPr>
        <p:spPr>
          <a:xfrm>
            <a:off x="430782" y="1594466"/>
            <a:ext cx="3853186" cy="330636"/>
          </a:xfrm>
          <a:prstGeom prst="rect">
            <a:avLst/>
          </a:prstGeom>
        </p:spPr>
        <p:txBody>
          <a:bodyPr lIns="36000" rIns="36000"/>
          <a:lstStyle>
            <a:defPPr>
              <a:defRPr lang="en-US"/>
            </a:defPPr>
            <a:lvl1pPr indent="0">
              <a:spcBef>
                <a:spcPts val="1200"/>
              </a:spcBef>
              <a:buFont typeface="Arial" pitchFamily="34" charset="0"/>
              <a:buNone/>
              <a:defRPr sz="1200" b="1">
                <a:solidFill>
                  <a:schemeClr val="accent1"/>
                </a:solidFill>
              </a:defRPr>
            </a:lvl1pPr>
            <a:lvl2pPr marL="266700" indent="-266700">
              <a:spcBef>
                <a:spcPts val="1200"/>
              </a:spcBef>
              <a:buFont typeface="Arial" pitchFamily="34" charset="0"/>
              <a:buChar char="•"/>
              <a:defRPr>
                <a:solidFill>
                  <a:schemeClr val="tx2"/>
                </a:solidFill>
              </a:defRPr>
            </a:lvl2pPr>
            <a:lvl3pPr marL="266700" indent="-266700">
              <a:spcBef>
                <a:spcPts val="1200"/>
              </a:spcBef>
              <a:buFont typeface="Arial" pitchFamily="34" charset="0"/>
              <a:buChar char="•"/>
              <a:defRPr i="1">
                <a:solidFill>
                  <a:schemeClr val="tx2"/>
                </a:solidFill>
              </a:defRPr>
            </a:lvl3pPr>
            <a:lvl4pPr marL="539750" indent="-273050">
              <a:spcBef>
                <a:spcPts val="1200"/>
              </a:spcBef>
              <a:buFont typeface="Arial" pitchFamily="34" charset="0"/>
              <a:buChar char="−"/>
              <a:defRPr>
                <a:solidFill>
                  <a:schemeClr val="tx2"/>
                </a:solidFill>
              </a:defRPr>
            </a:lvl4pPr>
            <a:lvl5pPr marL="806450" indent="-266700">
              <a:spcBef>
                <a:spcPts val="1200"/>
              </a:spcBef>
              <a:buFont typeface="Arial" pitchFamily="34" charset="0"/>
              <a:buChar char="−"/>
              <a:defRPr>
                <a:solidFill>
                  <a:schemeClr val="tx2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s-VE" sz="1400" dirty="0" smtClean="0">
                <a:solidFill>
                  <a:srgbClr val="86BC2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bjetivos y alcance</a:t>
            </a:r>
            <a:endParaRPr lang="es-VE" sz="1400" dirty="0">
              <a:solidFill>
                <a:srgbClr val="86BC25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Content Placeholder 7"/>
          <p:cNvSpPr txBox="1">
            <a:spLocks/>
          </p:cNvSpPr>
          <p:nvPr/>
        </p:nvSpPr>
        <p:spPr>
          <a:xfrm>
            <a:off x="430782" y="3068960"/>
            <a:ext cx="3853186" cy="330636"/>
          </a:xfrm>
          <a:prstGeom prst="rect">
            <a:avLst/>
          </a:prstGeom>
        </p:spPr>
        <p:txBody>
          <a:bodyPr lIns="36000" rIns="36000"/>
          <a:lstStyle>
            <a:defPPr>
              <a:defRPr lang="en-US"/>
            </a:defPPr>
            <a:lvl1pPr indent="0">
              <a:spcBef>
                <a:spcPts val="1200"/>
              </a:spcBef>
              <a:buFont typeface="Arial" pitchFamily="34" charset="0"/>
              <a:buNone/>
              <a:defRPr sz="1200" b="1">
                <a:solidFill>
                  <a:schemeClr val="accent1"/>
                </a:solidFill>
              </a:defRPr>
            </a:lvl1pPr>
            <a:lvl2pPr marL="266700" indent="-266700">
              <a:spcBef>
                <a:spcPts val="1200"/>
              </a:spcBef>
              <a:buFont typeface="Arial" pitchFamily="34" charset="0"/>
              <a:buChar char="•"/>
              <a:defRPr>
                <a:solidFill>
                  <a:schemeClr val="tx2"/>
                </a:solidFill>
              </a:defRPr>
            </a:lvl2pPr>
            <a:lvl3pPr marL="266700" indent="-266700">
              <a:spcBef>
                <a:spcPts val="1200"/>
              </a:spcBef>
              <a:buFont typeface="Arial" pitchFamily="34" charset="0"/>
              <a:buChar char="•"/>
              <a:defRPr i="1">
                <a:solidFill>
                  <a:schemeClr val="tx2"/>
                </a:solidFill>
              </a:defRPr>
            </a:lvl3pPr>
            <a:lvl4pPr marL="539750" indent="-273050">
              <a:spcBef>
                <a:spcPts val="1200"/>
              </a:spcBef>
              <a:buFont typeface="Arial" pitchFamily="34" charset="0"/>
              <a:buChar char="−"/>
              <a:defRPr>
                <a:solidFill>
                  <a:schemeClr val="tx2"/>
                </a:solidFill>
              </a:defRPr>
            </a:lvl4pPr>
            <a:lvl5pPr marL="806450" indent="-266700">
              <a:spcBef>
                <a:spcPts val="1200"/>
              </a:spcBef>
              <a:buFont typeface="Arial" pitchFamily="34" charset="0"/>
              <a:buChar char="−"/>
              <a:defRPr>
                <a:solidFill>
                  <a:schemeClr val="tx2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s-VE" sz="1400" dirty="0">
                <a:solidFill>
                  <a:srgbClr val="86BC2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foque metodológico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469901" y="3414444"/>
            <a:ext cx="9163050" cy="722463"/>
            <a:chOff x="1188490" y="2294152"/>
            <a:chExt cx="7416000" cy="906700"/>
          </a:xfrm>
        </p:grpSpPr>
        <p:sp>
          <p:nvSpPr>
            <p:cNvPr id="17" name="TextBox 16"/>
            <p:cNvSpPr txBox="1"/>
            <p:nvPr/>
          </p:nvSpPr>
          <p:spPr>
            <a:xfrm>
              <a:off x="1188490" y="2294153"/>
              <a:ext cx="7416000" cy="6566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just"/>
              <a:r>
                <a:rPr lang="es-VE" sz="1400" dirty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ara el desarrollo de este proyecto, se propone una metodología </a:t>
              </a:r>
              <a:r>
                <a:rPr lang="es-VE" sz="1400" dirty="0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que </a:t>
              </a:r>
              <a:r>
                <a:rPr lang="es-VE" sz="1400" dirty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onsta de </a:t>
              </a:r>
              <a:r>
                <a:rPr lang="es-VE" sz="1400" dirty="0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inco </a:t>
              </a:r>
              <a:r>
                <a:rPr lang="es-VE" sz="1400" dirty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fases </a:t>
              </a:r>
              <a:r>
                <a:rPr lang="es-VE" sz="1400" dirty="0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onsecutivas: </a:t>
              </a:r>
              <a:r>
                <a:rPr lang="es-MX" sz="1400" b="1" dirty="0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eparación </a:t>
              </a:r>
              <a:r>
                <a:rPr lang="es-MX" sz="1400" b="1" dirty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nicial,</a:t>
              </a:r>
              <a:r>
                <a:rPr lang="es-VE" sz="1400" b="1" dirty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 </a:t>
              </a:r>
              <a:r>
                <a:rPr lang="es-MX" sz="1400" b="1" dirty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Business </a:t>
              </a:r>
              <a:r>
                <a:rPr lang="es-MX" sz="1400" b="1" dirty="0" err="1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Blueprint</a:t>
              </a:r>
              <a:r>
                <a:rPr lang="es-MX" sz="1400" b="1" dirty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, Realización, Preparación </a:t>
              </a:r>
              <a:r>
                <a:rPr lang="es-MX" sz="1400" b="1" dirty="0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Final</a:t>
              </a:r>
              <a:endParaRPr lang="es-VE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188490" y="2294152"/>
              <a:ext cx="7416000" cy="906700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VE"/>
            </a:p>
          </p:txBody>
        </p:sp>
      </p:grpSp>
      <p:sp>
        <p:nvSpPr>
          <p:cNvPr id="19" name="Content Placeholder 7"/>
          <p:cNvSpPr txBox="1">
            <a:spLocks/>
          </p:cNvSpPr>
          <p:nvPr/>
        </p:nvSpPr>
        <p:spPr>
          <a:xfrm>
            <a:off x="430782" y="4517635"/>
            <a:ext cx="3853186" cy="330636"/>
          </a:xfrm>
          <a:prstGeom prst="rect">
            <a:avLst/>
          </a:prstGeom>
        </p:spPr>
        <p:txBody>
          <a:bodyPr lIns="36000" rIns="36000"/>
          <a:lstStyle>
            <a:defPPr>
              <a:defRPr lang="en-US"/>
            </a:defPPr>
            <a:lvl1pPr indent="0">
              <a:spcBef>
                <a:spcPts val="1200"/>
              </a:spcBef>
              <a:buFont typeface="Arial" pitchFamily="34" charset="0"/>
              <a:buNone/>
              <a:defRPr sz="1200" b="1">
                <a:solidFill>
                  <a:schemeClr val="accent1"/>
                </a:solidFill>
              </a:defRPr>
            </a:lvl1pPr>
            <a:lvl2pPr marL="266700" indent="-266700">
              <a:spcBef>
                <a:spcPts val="1200"/>
              </a:spcBef>
              <a:buFont typeface="Arial" pitchFamily="34" charset="0"/>
              <a:buChar char="•"/>
              <a:defRPr>
                <a:solidFill>
                  <a:schemeClr val="tx2"/>
                </a:solidFill>
              </a:defRPr>
            </a:lvl2pPr>
            <a:lvl3pPr marL="266700" indent="-266700">
              <a:spcBef>
                <a:spcPts val="1200"/>
              </a:spcBef>
              <a:buFont typeface="Arial" pitchFamily="34" charset="0"/>
              <a:buChar char="•"/>
              <a:defRPr i="1">
                <a:solidFill>
                  <a:schemeClr val="tx2"/>
                </a:solidFill>
              </a:defRPr>
            </a:lvl3pPr>
            <a:lvl4pPr marL="539750" indent="-273050">
              <a:spcBef>
                <a:spcPts val="1200"/>
              </a:spcBef>
              <a:buFont typeface="Arial" pitchFamily="34" charset="0"/>
              <a:buChar char="−"/>
              <a:defRPr>
                <a:solidFill>
                  <a:schemeClr val="tx2"/>
                </a:solidFill>
              </a:defRPr>
            </a:lvl4pPr>
            <a:lvl5pPr marL="806450" indent="-266700">
              <a:spcBef>
                <a:spcPts val="1200"/>
              </a:spcBef>
              <a:buFont typeface="Arial" pitchFamily="34" charset="0"/>
              <a:buChar char="−"/>
              <a:defRPr>
                <a:solidFill>
                  <a:schemeClr val="tx2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s-VE" sz="1400" dirty="0">
                <a:solidFill>
                  <a:srgbClr val="86BC2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quipo de trabajo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469901" y="4848271"/>
            <a:ext cx="9163050" cy="790464"/>
            <a:chOff x="1188490" y="2160799"/>
            <a:chExt cx="7416000" cy="790464"/>
          </a:xfrm>
        </p:grpSpPr>
        <p:sp>
          <p:nvSpPr>
            <p:cNvPr id="21" name="TextBox 20"/>
            <p:cNvSpPr txBox="1"/>
            <p:nvPr/>
          </p:nvSpPr>
          <p:spPr>
            <a:xfrm>
              <a:off x="1188490" y="2241172"/>
              <a:ext cx="741600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s-VE" sz="1400" dirty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El equipo de trabajo propuesto para este proyecto está conformado por un Socio responsable, un Gerente de Proyecto y </a:t>
              </a:r>
              <a:r>
                <a:rPr lang="es-VE" sz="1400" dirty="0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res Consultores de implementación.</a:t>
              </a:r>
              <a:endParaRPr lang="es-VE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1188490" y="2160799"/>
              <a:ext cx="7416000" cy="790464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VE"/>
            </a:p>
          </p:txBody>
        </p:sp>
      </p:grpSp>
      <p:sp>
        <p:nvSpPr>
          <p:cNvPr id="27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67316" y="2070050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foque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etodológic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78388" y="2422880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eparación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icial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67315" y="3063181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alización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67315" y="3414412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eparación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Final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67315" y="2752510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usiness Blueprin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1375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sz="quarter" idx="10"/>
          </p:nvPr>
        </p:nvSpPr>
        <p:spPr>
          <a:xfrm>
            <a:off x="1057617" y="1808784"/>
            <a:ext cx="3746923" cy="507831"/>
          </a:xfrm>
        </p:spPr>
        <p:txBody>
          <a:bodyPr>
            <a:spAutoFit/>
          </a:bodyPr>
          <a:lstStyle/>
          <a:p>
            <a:pPr>
              <a:spcAft>
                <a:spcPts val="0"/>
              </a:spcAft>
            </a:pPr>
            <a:r>
              <a:rPr lang="en-US" sz="1400" b="1" dirty="0" err="1">
                <a:solidFill>
                  <a:prstClr val="black"/>
                </a:solidFill>
              </a:rPr>
              <a:t>Enfoque</a:t>
            </a:r>
            <a:r>
              <a:rPr lang="en-US" sz="1400" b="1" dirty="0">
                <a:solidFill>
                  <a:prstClr val="black"/>
                </a:solidFill>
              </a:rPr>
              <a:t> </a:t>
            </a:r>
            <a:r>
              <a:rPr lang="en-US" sz="1400" b="1" dirty="0" err="1">
                <a:solidFill>
                  <a:prstClr val="black"/>
                </a:solidFill>
              </a:rPr>
              <a:t>Metodológico</a:t>
            </a:r>
            <a:endParaRPr lang="en-US" sz="1400" dirty="0">
              <a:solidFill>
                <a:prstClr val="black"/>
              </a:solidFill>
            </a:endParaRPr>
          </a:p>
          <a:p>
            <a:pPr>
              <a:spcAft>
                <a:spcPts val="0"/>
              </a:spcAft>
            </a:pPr>
            <a:r>
              <a:rPr lang="en-US" sz="1400" noProof="0" dirty="0" smtClean="0"/>
              <a:t>	</a:t>
            </a:r>
            <a:endParaRPr lang="en-US" sz="1400" noProof="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9901" y="384115"/>
            <a:ext cx="9163050" cy="334102"/>
          </a:xfrm>
        </p:spPr>
        <p:txBody>
          <a:bodyPr/>
          <a:lstStyle/>
          <a:p>
            <a:r>
              <a:rPr lang="en-US" noProof="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tenido</a:t>
            </a:r>
            <a:endParaRPr lang="en-US" noProof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Oval 1">
            <a:hlinkClick r:id="" action="ppaction://noaction"/>
          </p:cNvPr>
          <p:cNvSpPr/>
          <p:nvPr/>
        </p:nvSpPr>
        <p:spPr bwMode="gray">
          <a:xfrm>
            <a:off x="469901" y="1719113"/>
            <a:ext cx="369094" cy="369094"/>
          </a:xfrm>
          <a:prstGeom prst="ellipse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01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" name="Text Placeholder 5"/>
          <p:cNvSpPr txBox="1">
            <a:spLocks/>
          </p:cNvSpPr>
          <p:nvPr/>
        </p:nvSpPr>
        <p:spPr>
          <a:xfrm>
            <a:off x="1057618" y="2257129"/>
            <a:ext cx="3746923" cy="21544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4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eparación</a:t>
            </a: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icial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Oval 16">
            <a:hlinkClick r:id="" action="ppaction://noaction"/>
          </p:cNvPr>
          <p:cNvSpPr/>
          <p:nvPr/>
        </p:nvSpPr>
        <p:spPr bwMode="gray">
          <a:xfrm>
            <a:off x="470879" y="2162491"/>
            <a:ext cx="369094" cy="369094"/>
          </a:xfrm>
          <a:prstGeom prst="ellipse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02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Text Placeholder 5"/>
          <p:cNvSpPr txBox="1">
            <a:spLocks/>
          </p:cNvSpPr>
          <p:nvPr/>
        </p:nvSpPr>
        <p:spPr>
          <a:xfrm>
            <a:off x="1057617" y="2707867"/>
            <a:ext cx="3746923" cy="21544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lang="en-US" sz="1400" b="1" dirty="0" smtClean="0">
                <a:solidFill>
                  <a:prstClr val="black"/>
                </a:solidFill>
                <a:latin typeface="Verdana"/>
              </a:rPr>
              <a:t>Business Blueprin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9" name="Oval 18">
            <a:hlinkClick r:id="" action="ppaction://noaction"/>
          </p:cNvPr>
          <p:cNvSpPr/>
          <p:nvPr/>
        </p:nvSpPr>
        <p:spPr bwMode="gray">
          <a:xfrm>
            <a:off x="470879" y="2615653"/>
            <a:ext cx="369094" cy="369094"/>
          </a:xfrm>
          <a:prstGeom prst="ellipse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03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67316" y="2070050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foque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etodológic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Oval 13">
            <a:hlinkClick r:id="" action="ppaction://noaction"/>
          </p:cNvPr>
          <p:cNvSpPr/>
          <p:nvPr/>
        </p:nvSpPr>
        <p:spPr bwMode="gray">
          <a:xfrm>
            <a:off x="469901" y="3068815"/>
            <a:ext cx="369094" cy="369094"/>
          </a:xfrm>
          <a:prstGeom prst="ellipse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0</a:t>
            </a:r>
            <a:r>
              <a:rPr kumimoji="0" lang="es-V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Oval 14">
            <a:hlinkClick r:id="" action="ppaction://noaction"/>
          </p:cNvPr>
          <p:cNvSpPr/>
          <p:nvPr/>
        </p:nvSpPr>
        <p:spPr bwMode="gray">
          <a:xfrm>
            <a:off x="469901" y="3521977"/>
            <a:ext cx="369094" cy="369094"/>
          </a:xfrm>
          <a:prstGeom prst="ellipse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0</a:t>
            </a:r>
            <a:r>
              <a:rPr kumimoji="0" lang="es-V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5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" name="Text Placeholder 5"/>
          <p:cNvSpPr txBox="1">
            <a:spLocks/>
          </p:cNvSpPr>
          <p:nvPr/>
        </p:nvSpPr>
        <p:spPr>
          <a:xfrm>
            <a:off x="1073191" y="3141503"/>
            <a:ext cx="3746923" cy="21544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lang="en-US" sz="1400" b="1" dirty="0" err="1" smtClean="0">
                <a:solidFill>
                  <a:prstClr val="black"/>
                </a:solidFill>
                <a:latin typeface="Verdana"/>
              </a:rPr>
              <a:t>Realización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6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78388" y="2422880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eparación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icial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67315" y="3063181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alización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8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67315" y="3414412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eparación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Final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4" name="Text Placeholder 5"/>
          <p:cNvSpPr txBox="1">
            <a:spLocks/>
          </p:cNvSpPr>
          <p:nvPr/>
        </p:nvSpPr>
        <p:spPr>
          <a:xfrm>
            <a:off x="1053898" y="3581153"/>
            <a:ext cx="3746923" cy="21544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lang="en-US" sz="1400" b="1" dirty="0" err="1" smtClean="0">
                <a:solidFill>
                  <a:prstClr val="black"/>
                </a:solidFill>
                <a:latin typeface="Verdana"/>
              </a:rPr>
              <a:t>Preparación</a:t>
            </a:r>
            <a:r>
              <a:rPr lang="en-US" sz="1400" b="1" dirty="0" smtClean="0">
                <a:solidFill>
                  <a:prstClr val="black"/>
                </a:solidFill>
                <a:latin typeface="Verdana"/>
              </a:rPr>
              <a:t> </a:t>
            </a:r>
            <a:r>
              <a:rPr lang="en-US" sz="1400" b="1" dirty="0" err="1" smtClean="0">
                <a:solidFill>
                  <a:prstClr val="black"/>
                </a:solidFill>
                <a:latin typeface="Verdana"/>
              </a:rPr>
              <a:t>Inicial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45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67315" y="2752510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usiness Blueprin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5707" y="1776424"/>
            <a:ext cx="5184286" cy="36127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00812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Content Placeholder 2"/>
          <p:cNvSpPr>
            <a:spLocks noGrp="1"/>
          </p:cNvSpPr>
          <p:nvPr>
            <p:ph sz="quarter" idx="10"/>
          </p:nvPr>
        </p:nvSpPr>
        <p:spPr>
          <a:xfrm>
            <a:off x="469901" y="1291664"/>
            <a:ext cx="9163050" cy="4633911"/>
          </a:xfrm>
        </p:spPr>
        <p:txBody>
          <a:bodyPr/>
          <a:lstStyle/>
          <a:p>
            <a:r>
              <a:rPr lang="es-V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 metodología </a:t>
            </a:r>
            <a:r>
              <a:rPr lang="es-VE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VD</a:t>
            </a:r>
            <a:r>
              <a:rPr lang="es-V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s-VE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ra </a:t>
            </a:r>
            <a:r>
              <a:rPr lang="es-V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AP de </a:t>
            </a:r>
            <a:r>
              <a:rPr lang="es-VE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loitte</a:t>
            </a:r>
            <a:r>
              <a:rPr lang="es-V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tiene como objetivo incrementar la consistencia interna del proyecto y minimizar los riesgos de dispersión en la ejecución de las actividades. Parte de la base de la metodología es ASAP provista por SAP AG y ajustada según nuestra experiencia para garantizar los estándares de calidad y obtener una mayor eficiencia en el uso de los </a:t>
            </a:r>
            <a:r>
              <a:rPr lang="es-VE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cursos.</a:t>
            </a:r>
          </a:p>
          <a:p>
            <a:endParaRPr lang="es-VE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VE" dirty="0" smtClean="0"/>
              <a:t>Enfoque de la solución</a:t>
            </a:r>
            <a:endParaRPr lang="es-VE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VE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foque Metodológico</a:t>
            </a:r>
            <a:endParaRPr lang="es-VE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6" name="Picture 2" descr="https://kx.deloitteresources.com/mymethods/EVDSAP3.2/Deloitte.Methods.EA.EVD_for_SAP/guidances/supportingmaterials/resources/EVD_SAP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1578" y="2166235"/>
            <a:ext cx="5905668" cy="3369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Content Placeholder 2"/>
          <p:cNvSpPr txBox="1">
            <a:spLocks/>
          </p:cNvSpPr>
          <p:nvPr/>
        </p:nvSpPr>
        <p:spPr>
          <a:xfrm>
            <a:off x="469901" y="5567835"/>
            <a:ext cx="9163050" cy="12800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V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cionalmente, </a:t>
            </a:r>
            <a:r>
              <a:rPr lang="es-VE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loitte</a:t>
            </a:r>
            <a:r>
              <a:rPr lang="es-V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incorpora su metodología de Gestión de Proyectos, la cual facilita la adaptación a los requerimientos particulares del caso</a:t>
            </a:r>
            <a:r>
              <a:rPr lang="es-VE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  <a:endParaRPr lang="es-VE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67316" y="2070050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foque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etodológic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78388" y="2422880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eparación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icial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67315" y="3063181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alización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67315" y="3414412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eparación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Final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67315" y="2752510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usiness Blueprin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802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Content Placeholder 2"/>
          <p:cNvSpPr>
            <a:spLocks noGrp="1"/>
          </p:cNvSpPr>
          <p:nvPr>
            <p:ph sz="quarter" idx="10"/>
          </p:nvPr>
        </p:nvSpPr>
        <p:spPr>
          <a:xfrm>
            <a:off x="469900" y="1115315"/>
            <a:ext cx="9397113" cy="929709"/>
          </a:xfrm>
        </p:spPr>
        <p:txBody>
          <a:bodyPr/>
          <a:lstStyle/>
          <a:p>
            <a:pPr algn="just"/>
            <a:r>
              <a:rPr lang="es-V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gún la información general facilitada </a:t>
            </a:r>
            <a:r>
              <a:rPr lang="es-VE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r</a:t>
            </a:r>
            <a:r>
              <a:rPr lang="en-US" sz="1400" b="1" dirty="0"/>
              <a:t> </a:t>
            </a:r>
            <a:r>
              <a:rPr lang="en-US" sz="1400" b="1" dirty="0" err="1" smtClean="0"/>
              <a:t>Grupo</a:t>
            </a:r>
            <a:r>
              <a:rPr lang="en-US" sz="1400" b="1" dirty="0" smtClean="0"/>
              <a:t> Johnson </a:t>
            </a:r>
            <a:r>
              <a:rPr lang="en-US" sz="1400" b="1" dirty="0"/>
              <a:t>&amp; Johnson de </a:t>
            </a:r>
            <a:r>
              <a:rPr lang="en-US" sz="1400" b="1" dirty="0" smtClean="0"/>
              <a:t>Venezuela</a:t>
            </a:r>
            <a:r>
              <a:rPr lang="es-VE" sz="1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</a:t>
            </a:r>
            <a:r>
              <a:rPr lang="es-VE" sz="1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s-VE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 </a:t>
            </a:r>
            <a:r>
              <a:rPr lang="es-V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señó un enfoque para la implementación del sistema SAP Business One, orientado a proveer una solución integral a las necesidades planteadas</a:t>
            </a:r>
            <a:r>
              <a:rPr lang="es-VE" sz="1600" dirty="0"/>
              <a:t>.</a:t>
            </a:r>
          </a:p>
          <a:p>
            <a:endParaRPr lang="es-VE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VE" dirty="0" smtClean="0"/>
              <a:t>Implementación SAP Business </a:t>
            </a:r>
            <a:r>
              <a:rPr lang="es-VE" dirty="0" err="1" smtClean="0"/>
              <a:t>One</a:t>
            </a:r>
            <a:endParaRPr lang="es-VE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VE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foque Metodológico</a:t>
            </a:r>
            <a:endParaRPr lang="es-VE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661552" y="2515709"/>
            <a:ext cx="1620180" cy="1147627"/>
          </a:xfrm>
          <a:prstGeom prst="rect">
            <a:avLst/>
          </a:prstGeom>
          <a:noFill/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/>
        </p:nvSpPr>
        <p:spPr bwMode="auto">
          <a:xfrm>
            <a:off x="5041337" y="3021138"/>
            <a:ext cx="1485165" cy="357142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 smtClean="0"/>
              <a:t>Ejecución y  Certificación de Pruebas</a:t>
            </a:r>
            <a:endParaRPr lang="es-MX" altLang="ja-JP" sz="900" kern="0" dirty="0"/>
          </a:p>
        </p:txBody>
      </p:sp>
      <p:sp>
        <p:nvSpPr>
          <p:cNvPr id="18" name="Rectangle 17"/>
          <p:cNvSpPr/>
          <p:nvPr/>
        </p:nvSpPr>
        <p:spPr bwMode="auto">
          <a:xfrm>
            <a:off x="3351974" y="3033265"/>
            <a:ext cx="1540937" cy="405046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 smtClean="0"/>
              <a:t>Análisis y diseño de la solución B1</a:t>
            </a:r>
            <a:endParaRPr lang="es-MX" altLang="ja-JP" sz="900" kern="0" dirty="0"/>
          </a:p>
        </p:txBody>
      </p:sp>
      <p:sp>
        <p:nvSpPr>
          <p:cNvPr id="19" name="Rectangle 18"/>
          <p:cNvSpPr/>
          <p:nvPr/>
        </p:nvSpPr>
        <p:spPr bwMode="auto">
          <a:xfrm>
            <a:off x="1703515" y="6025550"/>
            <a:ext cx="1524213" cy="38309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b="1" kern="0" dirty="0" smtClean="0"/>
              <a:t>Declaración de Alcance /Plan de Trabajo</a:t>
            </a:r>
            <a:endParaRPr lang="es-MX" altLang="ja-JP" sz="900" b="1" kern="0" dirty="0"/>
          </a:p>
        </p:txBody>
      </p:sp>
      <p:sp>
        <p:nvSpPr>
          <p:cNvPr id="20" name="AutoShape 11"/>
          <p:cNvSpPr>
            <a:spLocks noChangeArrowheads="1"/>
          </p:cNvSpPr>
          <p:nvPr/>
        </p:nvSpPr>
        <p:spPr bwMode="auto">
          <a:xfrm>
            <a:off x="1607548" y="1892052"/>
            <a:ext cx="1772595" cy="576263"/>
          </a:xfrm>
          <a:prstGeom prst="homePlate">
            <a:avLst>
              <a:gd name="adj" fmla="val 26477"/>
            </a:avLst>
          </a:prstGeom>
          <a:solidFill>
            <a:srgbClr val="86BC25"/>
          </a:solidFill>
          <a:ln w="6350" algn="ctr">
            <a:solidFill>
              <a:srgbClr val="8099CC"/>
            </a:solidFill>
            <a:miter lim="800000"/>
            <a:headEnd type="none" w="sm" len="sm"/>
            <a:tailEnd type="none" w="sm" len="sm"/>
          </a:ln>
        </p:spPr>
        <p:txBody>
          <a:bodyPr wrap="square" lIns="0" tIns="81577" rIns="0" bIns="81577" anchor="ctr"/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1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Preparación Inicial</a:t>
            </a:r>
            <a:endParaRPr kumimoji="0" lang="es-MX" sz="11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1" name="Rectangle 20"/>
          <p:cNvSpPr/>
          <p:nvPr/>
        </p:nvSpPr>
        <p:spPr bwMode="auto">
          <a:xfrm>
            <a:off x="3362740" y="3528321"/>
            <a:ext cx="1540800" cy="40504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1000" kern="0" dirty="0"/>
              <a:t>Diseño </a:t>
            </a:r>
            <a:r>
              <a:rPr lang="es-MX" altLang="ja-JP" sz="1000" kern="0" dirty="0" smtClean="0"/>
              <a:t>del modelo funcional futuro</a:t>
            </a:r>
            <a:endParaRPr lang="es-MX" altLang="ja-JP" sz="1000" kern="0" dirty="0"/>
          </a:p>
        </p:txBody>
      </p:sp>
      <p:sp>
        <p:nvSpPr>
          <p:cNvPr id="22" name="Rectangle 21"/>
          <p:cNvSpPr/>
          <p:nvPr/>
        </p:nvSpPr>
        <p:spPr bwMode="auto">
          <a:xfrm>
            <a:off x="3362741" y="4788461"/>
            <a:ext cx="1485165" cy="45005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 smtClean="0"/>
              <a:t>Generación del Business </a:t>
            </a:r>
            <a:r>
              <a:rPr lang="es-MX" altLang="ja-JP" sz="900" kern="0" dirty="0" err="1" smtClean="0"/>
              <a:t>Blueprint</a:t>
            </a:r>
            <a:endParaRPr lang="es-MX" altLang="ja-JP" sz="900" kern="0" dirty="0"/>
          </a:p>
        </p:txBody>
      </p:sp>
      <p:sp>
        <p:nvSpPr>
          <p:cNvPr id="25" name="Rectangle 24"/>
          <p:cNvSpPr/>
          <p:nvPr/>
        </p:nvSpPr>
        <p:spPr bwMode="auto">
          <a:xfrm>
            <a:off x="1697558" y="2583216"/>
            <a:ext cx="1530170" cy="4083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kumimoji="0" lang="es-MX" altLang="ja-JP" sz="10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Entendimiento del </a:t>
            </a:r>
            <a:r>
              <a:rPr lang="es-MX" altLang="ja-JP" sz="1000" kern="0" noProof="0" dirty="0" smtClean="0"/>
              <a:t>M</a:t>
            </a:r>
            <a:r>
              <a:rPr kumimoji="0" lang="es-MX" altLang="ja-JP" sz="10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odelo de </a:t>
            </a:r>
            <a:r>
              <a:rPr lang="es-MX" altLang="ja-JP" sz="1000" kern="0" dirty="0" smtClean="0"/>
              <a:t>Negocio</a:t>
            </a:r>
            <a:r>
              <a:rPr kumimoji="0" lang="es-MX" altLang="ja-JP" sz="1000" b="0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</a:rPr>
              <a:t> </a:t>
            </a:r>
            <a:endParaRPr kumimoji="0" lang="es-MX" altLang="ja-JP" sz="10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34" name="AutoShape 13"/>
          <p:cNvSpPr>
            <a:spLocks noChangeArrowheads="1"/>
          </p:cNvSpPr>
          <p:nvPr/>
        </p:nvSpPr>
        <p:spPr bwMode="auto">
          <a:xfrm flipV="1">
            <a:off x="1697558" y="5868581"/>
            <a:ext cx="1575175" cy="90010"/>
          </a:xfrm>
          <a:prstGeom prst="triangle">
            <a:avLst>
              <a:gd name="adj" fmla="val 50000"/>
            </a:avLst>
          </a:prstGeom>
          <a:solidFill>
            <a:srgbClr val="FFFFFF">
              <a:lumMod val="85000"/>
            </a:srgbClr>
          </a:solidFill>
          <a:ln w="6350" algn="ctr">
            <a:solidFill>
              <a:srgbClr val="FFFFFF">
                <a:lumMod val="85000"/>
              </a:srgbClr>
            </a:solidFill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vert270" lIns="90901" tIns="90901" rIns="90901" bIns="90901" anchor="ctr"/>
          <a:lstStyle/>
          <a:p>
            <a:pPr marL="0" marR="0" lvl="0" indent="0" defTabSz="908927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ＭＳ Ｐゴシック" pitchFamily="34" charset="-128"/>
            </a:endParaRPr>
          </a:p>
        </p:txBody>
      </p:sp>
      <p:sp>
        <p:nvSpPr>
          <p:cNvPr id="35" name="AutoShape 30"/>
          <p:cNvSpPr>
            <a:spLocks noChangeArrowheads="1"/>
          </p:cNvSpPr>
          <p:nvPr/>
        </p:nvSpPr>
        <p:spPr bwMode="auto">
          <a:xfrm>
            <a:off x="3285782" y="1885367"/>
            <a:ext cx="1755195" cy="585065"/>
          </a:xfrm>
          <a:prstGeom prst="chevron">
            <a:avLst>
              <a:gd name="adj" fmla="val 28587"/>
            </a:avLst>
          </a:prstGeom>
          <a:solidFill>
            <a:srgbClr val="86BC25"/>
          </a:solidFill>
          <a:ln w="6350" algn="ctr">
            <a:solidFill>
              <a:srgbClr val="8099CC"/>
            </a:solidFill>
            <a:miter lim="800000"/>
            <a:headEnd type="none" w="sm" len="sm"/>
            <a:tailEnd type="none" w="sm" len="sm"/>
          </a:ln>
        </p:spPr>
        <p:txBody>
          <a:bodyPr wrap="square" lIns="0" tIns="81577" rIns="0" bIns="81577" anchor="ctr"/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1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Business </a:t>
            </a:r>
            <a:r>
              <a:rPr kumimoji="0" lang="es-MX" sz="1100" b="1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</a:rPr>
              <a:t>Blueprint</a:t>
            </a:r>
            <a:endParaRPr kumimoji="0" lang="es-MX" sz="11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36" name="AutoShape 30"/>
          <p:cNvSpPr>
            <a:spLocks noChangeArrowheads="1"/>
          </p:cNvSpPr>
          <p:nvPr/>
        </p:nvSpPr>
        <p:spPr bwMode="auto">
          <a:xfrm>
            <a:off x="4946616" y="1885367"/>
            <a:ext cx="1710190" cy="576263"/>
          </a:xfrm>
          <a:prstGeom prst="chevron">
            <a:avLst>
              <a:gd name="adj" fmla="val 28587"/>
            </a:avLst>
          </a:prstGeom>
          <a:solidFill>
            <a:srgbClr val="86BC25"/>
          </a:solidFill>
          <a:ln w="6350" algn="ctr">
            <a:solidFill>
              <a:srgbClr val="8099CC"/>
            </a:solidFill>
            <a:miter lim="800000"/>
            <a:headEnd type="none" w="sm" len="sm"/>
            <a:tailEnd type="none" w="sm" len="sm"/>
          </a:ln>
        </p:spPr>
        <p:txBody>
          <a:bodyPr wrap="square" lIns="0" tIns="81577" rIns="0" bIns="81577" anchor="ctr"/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1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Realización</a:t>
            </a:r>
            <a:endParaRPr kumimoji="0" lang="es-MX" sz="11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37" name="AutoShape 30"/>
          <p:cNvSpPr>
            <a:spLocks noChangeArrowheads="1"/>
          </p:cNvSpPr>
          <p:nvPr/>
        </p:nvSpPr>
        <p:spPr bwMode="auto">
          <a:xfrm>
            <a:off x="6562445" y="1885367"/>
            <a:ext cx="1620180" cy="576263"/>
          </a:xfrm>
          <a:prstGeom prst="chevron">
            <a:avLst>
              <a:gd name="adj" fmla="val 28587"/>
            </a:avLst>
          </a:prstGeom>
          <a:solidFill>
            <a:srgbClr val="86BC25"/>
          </a:solidFill>
          <a:ln w="6350" algn="ctr">
            <a:solidFill>
              <a:srgbClr val="8099CC"/>
            </a:solidFill>
            <a:miter lim="800000"/>
            <a:headEnd type="none" w="sm" len="sm"/>
            <a:tailEnd type="none" w="sm" len="sm"/>
          </a:ln>
        </p:spPr>
        <p:txBody>
          <a:bodyPr wrap="square" lIns="0" tIns="81577" rIns="0" bIns="81577" anchor="ctr"/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1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Preparación Final</a:t>
            </a:r>
            <a:endParaRPr kumimoji="0" lang="es-MX" sz="11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39" name="Rectangle 38"/>
          <p:cNvSpPr/>
          <p:nvPr/>
        </p:nvSpPr>
        <p:spPr bwMode="auto">
          <a:xfrm>
            <a:off x="1697558" y="3078271"/>
            <a:ext cx="1530169" cy="45005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1000" kern="0" dirty="0" smtClean="0"/>
              <a:t>Revisión del alcance funcional</a:t>
            </a:r>
            <a:endParaRPr lang="es-MX" altLang="ja-JP" sz="1000" kern="0" dirty="0"/>
          </a:p>
        </p:txBody>
      </p:sp>
      <p:sp>
        <p:nvSpPr>
          <p:cNvPr id="40" name="Rectangle 39"/>
          <p:cNvSpPr/>
          <p:nvPr/>
        </p:nvSpPr>
        <p:spPr bwMode="auto">
          <a:xfrm>
            <a:off x="3452751" y="6048601"/>
            <a:ext cx="1434203" cy="38309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b="1" kern="0" dirty="0" smtClean="0"/>
              <a:t>Business </a:t>
            </a:r>
            <a:r>
              <a:rPr lang="es-MX" altLang="ja-JP" sz="900" b="1" kern="0" dirty="0" err="1" smtClean="0"/>
              <a:t>Blueprint</a:t>
            </a:r>
            <a:endParaRPr lang="es-MX" altLang="ja-JP" sz="900" b="1" kern="0" dirty="0"/>
          </a:p>
        </p:txBody>
      </p:sp>
      <p:sp>
        <p:nvSpPr>
          <p:cNvPr id="41" name="AutoShape 13"/>
          <p:cNvSpPr>
            <a:spLocks noChangeArrowheads="1"/>
          </p:cNvSpPr>
          <p:nvPr/>
        </p:nvSpPr>
        <p:spPr bwMode="auto">
          <a:xfrm flipV="1">
            <a:off x="3362743" y="5868581"/>
            <a:ext cx="1575175" cy="90010"/>
          </a:xfrm>
          <a:prstGeom prst="triangle">
            <a:avLst>
              <a:gd name="adj" fmla="val 50000"/>
            </a:avLst>
          </a:prstGeom>
          <a:solidFill>
            <a:srgbClr val="FFFFFF">
              <a:lumMod val="85000"/>
            </a:srgbClr>
          </a:solidFill>
          <a:ln w="6350" algn="ctr">
            <a:solidFill>
              <a:srgbClr val="FFFFFF">
                <a:lumMod val="85000"/>
              </a:srgbClr>
            </a:solidFill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vert270" lIns="90901" tIns="90901" rIns="90901" bIns="90901" anchor="ctr"/>
          <a:lstStyle/>
          <a:p>
            <a:pPr marL="0" marR="0" lvl="0" indent="0" defTabSz="908927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ＭＳ Ｐゴシック" pitchFamily="34" charset="-128"/>
            </a:endParaRPr>
          </a:p>
        </p:txBody>
      </p:sp>
      <p:sp>
        <p:nvSpPr>
          <p:cNvPr id="42" name="Rectangle 41"/>
          <p:cNvSpPr/>
          <p:nvPr/>
        </p:nvSpPr>
        <p:spPr bwMode="auto">
          <a:xfrm>
            <a:off x="5027926" y="4383416"/>
            <a:ext cx="1485165" cy="45005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 smtClean="0"/>
              <a:t>Ejecutar el script de pruebas integrales</a:t>
            </a:r>
            <a:endParaRPr lang="es-MX" altLang="ja-JP" sz="900" kern="0" dirty="0"/>
          </a:p>
        </p:txBody>
      </p:sp>
      <p:sp>
        <p:nvSpPr>
          <p:cNvPr id="43" name="Rectangle 42"/>
          <p:cNvSpPr/>
          <p:nvPr/>
        </p:nvSpPr>
        <p:spPr bwMode="auto">
          <a:xfrm>
            <a:off x="5027926" y="3933366"/>
            <a:ext cx="1485165" cy="40504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/>
              <a:t>V</a:t>
            </a:r>
            <a:r>
              <a:rPr lang="es-MX" altLang="ja-JP" sz="900" kern="0" dirty="0" smtClean="0"/>
              <a:t>alidar la calidad de la configuración (QA)</a:t>
            </a:r>
            <a:endParaRPr lang="es-MX" altLang="ja-JP" sz="900" kern="0" dirty="0"/>
          </a:p>
        </p:txBody>
      </p:sp>
      <p:cxnSp>
        <p:nvCxnSpPr>
          <p:cNvPr id="44" name="Straight Connector 43"/>
          <p:cNvCxnSpPr/>
          <p:nvPr/>
        </p:nvCxnSpPr>
        <p:spPr>
          <a:xfrm>
            <a:off x="1697558" y="5823576"/>
            <a:ext cx="65160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44"/>
          <p:cNvSpPr/>
          <p:nvPr/>
        </p:nvSpPr>
        <p:spPr bwMode="auto">
          <a:xfrm>
            <a:off x="5027928" y="6048601"/>
            <a:ext cx="1485165" cy="38309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b="1" kern="0" dirty="0" smtClean="0"/>
              <a:t>Script de Pruebas Certificadas</a:t>
            </a:r>
            <a:endParaRPr lang="es-MX" altLang="ja-JP" sz="900" b="1" kern="0" dirty="0"/>
          </a:p>
        </p:txBody>
      </p:sp>
      <p:sp>
        <p:nvSpPr>
          <p:cNvPr id="48" name="AutoShape 13"/>
          <p:cNvSpPr>
            <a:spLocks noChangeArrowheads="1"/>
          </p:cNvSpPr>
          <p:nvPr/>
        </p:nvSpPr>
        <p:spPr bwMode="auto">
          <a:xfrm flipV="1">
            <a:off x="5027928" y="5868581"/>
            <a:ext cx="1575175" cy="90010"/>
          </a:xfrm>
          <a:prstGeom prst="triangle">
            <a:avLst>
              <a:gd name="adj" fmla="val 50000"/>
            </a:avLst>
          </a:prstGeom>
          <a:solidFill>
            <a:srgbClr val="FFFFFF">
              <a:lumMod val="85000"/>
            </a:srgbClr>
          </a:solidFill>
          <a:ln w="6350" algn="ctr">
            <a:solidFill>
              <a:srgbClr val="FFFFFF">
                <a:lumMod val="85000"/>
              </a:srgbClr>
            </a:solidFill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vert270" lIns="90901" tIns="90901" rIns="90901" bIns="90901" anchor="ctr"/>
          <a:lstStyle/>
          <a:p>
            <a:pPr marL="0" marR="0" lvl="0" indent="0" defTabSz="908927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ＭＳ Ｐゴシック" pitchFamily="34" charset="-128"/>
            </a:endParaRPr>
          </a:p>
        </p:txBody>
      </p:sp>
      <p:sp>
        <p:nvSpPr>
          <p:cNvPr id="49" name="Rectangle 48"/>
          <p:cNvSpPr/>
          <p:nvPr/>
        </p:nvSpPr>
        <p:spPr bwMode="auto">
          <a:xfrm>
            <a:off x="6592334" y="5328521"/>
            <a:ext cx="1540937" cy="40504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 smtClean="0"/>
              <a:t>Entonar el sistema para la Salida de </a:t>
            </a:r>
            <a:r>
              <a:rPr lang="es-MX" altLang="ja-JP" sz="900" kern="0" dirty="0" err="1" smtClean="0"/>
              <a:t>Outsourcing</a:t>
            </a:r>
            <a:r>
              <a:rPr lang="es-MX" altLang="ja-JP" sz="900" kern="0" dirty="0" smtClean="0"/>
              <a:t> Contable</a:t>
            </a:r>
            <a:endParaRPr lang="es-MX" altLang="ja-JP" sz="900" kern="0" dirty="0"/>
          </a:p>
        </p:txBody>
      </p:sp>
      <p:sp>
        <p:nvSpPr>
          <p:cNvPr id="50" name="Rectangle 49"/>
          <p:cNvSpPr/>
          <p:nvPr/>
        </p:nvSpPr>
        <p:spPr bwMode="auto">
          <a:xfrm>
            <a:off x="6592334" y="4875573"/>
            <a:ext cx="1540937" cy="40794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 smtClean="0"/>
              <a:t>Adiestramiento de usuarios BPS</a:t>
            </a:r>
            <a:endParaRPr lang="es-MX" altLang="ja-JP" sz="900" kern="0" dirty="0"/>
          </a:p>
        </p:txBody>
      </p:sp>
      <p:sp>
        <p:nvSpPr>
          <p:cNvPr id="51" name="Rectangle 50"/>
          <p:cNvSpPr/>
          <p:nvPr/>
        </p:nvSpPr>
        <p:spPr bwMode="auto">
          <a:xfrm>
            <a:off x="6648106" y="6055367"/>
            <a:ext cx="1670946" cy="38309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b="1" kern="0" dirty="0" smtClean="0"/>
              <a:t>Plan Detallado para la Salida </a:t>
            </a:r>
            <a:r>
              <a:rPr lang="es-MX" altLang="ja-JP" sz="900" b="1" kern="0" dirty="0" err="1" smtClean="0"/>
              <a:t>Outsourcing</a:t>
            </a:r>
            <a:r>
              <a:rPr lang="es-MX" altLang="ja-JP" sz="900" b="1" kern="0" dirty="0" smtClean="0"/>
              <a:t> Contable</a:t>
            </a:r>
            <a:endParaRPr lang="es-MX" altLang="ja-JP" sz="900" b="1" kern="0" dirty="0"/>
          </a:p>
        </p:txBody>
      </p:sp>
      <p:sp>
        <p:nvSpPr>
          <p:cNvPr id="55" name="Rectangle 54"/>
          <p:cNvSpPr/>
          <p:nvPr/>
        </p:nvSpPr>
        <p:spPr bwMode="auto">
          <a:xfrm>
            <a:off x="5027926" y="5328521"/>
            <a:ext cx="1485165" cy="45005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 smtClean="0"/>
              <a:t>Demostración  y certificación del prototipo</a:t>
            </a:r>
            <a:endParaRPr lang="es-MX" altLang="ja-JP" sz="900" kern="0" dirty="0"/>
          </a:p>
        </p:txBody>
      </p:sp>
      <p:sp>
        <p:nvSpPr>
          <p:cNvPr id="56" name="Rectangle 55"/>
          <p:cNvSpPr/>
          <p:nvPr/>
        </p:nvSpPr>
        <p:spPr bwMode="auto">
          <a:xfrm>
            <a:off x="3362741" y="5283516"/>
            <a:ext cx="1485165" cy="45005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 smtClean="0"/>
              <a:t>Aprobación del Business </a:t>
            </a:r>
            <a:r>
              <a:rPr lang="es-MX" altLang="ja-JP" sz="900" kern="0" dirty="0" err="1" smtClean="0"/>
              <a:t>Blueprint</a:t>
            </a:r>
            <a:endParaRPr lang="es-MX" altLang="ja-JP" sz="900" kern="0" dirty="0"/>
          </a:p>
        </p:txBody>
      </p:sp>
      <p:sp>
        <p:nvSpPr>
          <p:cNvPr id="58" name="Rectangle 57"/>
          <p:cNvSpPr/>
          <p:nvPr/>
        </p:nvSpPr>
        <p:spPr bwMode="auto">
          <a:xfrm>
            <a:off x="3351974" y="2538211"/>
            <a:ext cx="1540937" cy="408299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 smtClean="0"/>
              <a:t>Levantamiento de Información  (Procesos)</a:t>
            </a:r>
            <a:endParaRPr kumimoji="0" lang="es-MX" altLang="ja-JP" sz="9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59" name="Rectangle 58"/>
          <p:cNvSpPr/>
          <p:nvPr/>
        </p:nvSpPr>
        <p:spPr bwMode="auto">
          <a:xfrm>
            <a:off x="5027926" y="2538211"/>
            <a:ext cx="1485165" cy="40504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1000" kern="0" dirty="0" smtClean="0"/>
              <a:t>Configuración del sistema B1</a:t>
            </a:r>
            <a:endParaRPr lang="es-MX" altLang="ja-JP" sz="1000" kern="0" dirty="0"/>
          </a:p>
        </p:txBody>
      </p:sp>
      <p:sp>
        <p:nvSpPr>
          <p:cNvPr id="60" name="Rectangle 59"/>
          <p:cNvSpPr/>
          <p:nvPr/>
        </p:nvSpPr>
        <p:spPr>
          <a:xfrm>
            <a:off x="4973920" y="2511360"/>
            <a:ext cx="1620000" cy="1016961"/>
          </a:xfrm>
          <a:prstGeom prst="rect">
            <a:avLst/>
          </a:prstGeom>
          <a:noFill/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1" name="Rectangle 60"/>
          <p:cNvSpPr/>
          <p:nvPr/>
        </p:nvSpPr>
        <p:spPr bwMode="auto">
          <a:xfrm>
            <a:off x="5027926" y="4878471"/>
            <a:ext cx="1485165" cy="40504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1000" kern="0" dirty="0" smtClean="0"/>
              <a:t>Ejecutar cambios en B1</a:t>
            </a:r>
            <a:endParaRPr lang="es-MX" altLang="ja-JP" sz="1000" kern="0" dirty="0"/>
          </a:p>
        </p:txBody>
      </p:sp>
      <p:sp>
        <p:nvSpPr>
          <p:cNvPr id="62" name="AutoShape 13"/>
          <p:cNvSpPr>
            <a:spLocks noChangeArrowheads="1"/>
          </p:cNvSpPr>
          <p:nvPr/>
        </p:nvSpPr>
        <p:spPr bwMode="auto">
          <a:xfrm flipV="1">
            <a:off x="6603103" y="5868581"/>
            <a:ext cx="1575175" cy="90010"/>
          </a:xfrm>
          <a:prstGeom prst="triangle">
            <a:avLst>
              <a:gd name="adj" fmla="val 50000"/>
            </a:avLst>
          </a:prstGeom>
          <a:solidFill>
            <a:srgbClr val="FFFFFF">
              <a:lumMod val="85000"/>
            </a:srgbClr>
          </a:solidFill>
          <a:ln w="6350" algn="ctr">
            <a:solidFill>
              <a:srgbClr val="FFFFFF">
                <a:lumMod val="85000"/>
              </a:srgbClr>
            </a:solidFill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vert270" lIns="90901" tIns="90901" rIns="90901" bIns="90901" anchor="ctr"/>
          <a:lstStyle/>
          <a:p>
            <a:pPr marL="0" marR="0" lvl="0" indent="0" defTabSz="908927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ＭＳ Ｐゴシック" pitchFamily="34" charset="-128"/>
            </a:endParaRPr>
          </a:p>
        </p:txBody>
      </p:sp>
      <p:sp>
        <p:nvSpPr>
          <p:cNvPr id="80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67316" y="2070050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foque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etodológic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1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78388" y="2422880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eparación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icial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2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67315" y="3063181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alización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3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67315" y="3414412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eparación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Final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4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67315" y="2752510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usiness Blueprin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4746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Content Placeholder 2"/>
          <p:cNvSpPr>
            <a:spLocks noGrp="1"/>
          </p:cNvSpPr>
          <p:nvPr>
            <p:ph sz="quarter" idx="10"/>
          </p:nvPr>
        </p:nvSpPr>
        <p:spPr>
          <a:xfrm>
            <a:off x="469900" y="1115315"/>
            <a:ext cx="9397113" cy="929709"/>
          </a:xfrm>
        </p:spPr>
        <p:txBody>
          <a:bodyPr/>
          <a:lstStyle/>
          <a:p>
            <a:pPr algn="just"/>
            <a:r>
              <a:rPr lang="es-VE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 preparación inicial es la fase inicial en la metodología de implementación del </a:t>
            </a:r>
            <a:r>
              <a:rPr lang="es-VE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utsourcing</a:t>
            </a:r>
            <a:r>
              <a:rPr lang="es-VE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contable con SAP Business One. Al finalizar esta fase, se obtiene como resultado dos entregables:</a:t>
            </a:r>
            <a:r>
              <a:rPr lang="es-V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s-VE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 </a:t>
            </a:r>
            <a:r>
              <a:rPr lang="es-VE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ick</a:t>
            </a:r>
            <a:r>
              <a:rPr lang="es-VE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Off y el plan de trabajo del proyecto.</a:t>
            </a:r>
            <a:endParaRPr lang="es-VE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VE" dirty="0" smtClean="0"/>
              <a:t>Implementación SAP Business One</a:t>
            </a:r>
            <a:endParaRPr lang="es-VE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VE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eparación Inicial</a:t>
            </a:r>
            <a:endParaRPr lang="es-VE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8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67316" y="2070050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foque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etodológic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78388" y="2422880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eparación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icial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7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67315" y="3063181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alización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67315" y="3414412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eparación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Final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9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67315" y="2752510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usiness Blueprin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1469571" y="2594839"/>
            <a:ext cx="4295341" cy="35167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VE"/>
          </a:p>
        </p:txBody>
      </p:sp>
      <p:sp>
        <p:nvSpPr>
          <p:cNvPr id="87" name="Text Placeholder 8"/>
          <p:cNvSpPr txBox="1">
            <a:spLocks/>
          </p:cNvSpPr>
          <p:nvPr/>
        </p:nvSpPr>
        <p:spPr>
          <a:xfrm>
            <a:off x="463273" y="2136736"/>
            <a:ext cx="7137399" cy="28840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64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r>
              <a:rPr lang="es-419" sz="1600" dirty="0" smtClean="0">
                <a:solidFill>
                  <a:schemeClr val="accent4"/>
                </a:solidFill>
                <a:latin typeface="Verdana"/>
              </a:rPr>
              <a:t>Preparación Inicial</a:t>
            </a:r>
            <a:endParaRPr lang="es-419" sz="1600" dirty="0">
              <a:solidFill>
                <a:schemeClr val="accent4"/>
              </a:solidFill>
              <a:latin typeface="Verdana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3481781" y="2594839"/>
            <a:ext cx="18251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VE" sz="1600" dirty="0" smtClean="0">
                <a:latin typeface="Calibri" panose="020F0502020204030204" pitchFamily="34" charset="0"/>
                <a:cs typeface="Calibri" panose="020F0502020204030204" pitchFamily="34" charset="0"/>
              </a:rPr>
              <a:t>Plan de Trabajo </a:t>
            </a:r>
            <a:endParaRPr lang="es-VE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1512781" y="2594839"/>
            <a:ext cx="22074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VE" sz="16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Kick</a:t>
            </a:r>
            <a:r>
              <a:rPr lang="es-VE" sz="1600" dirty="0" smtClean="0">
                <a:latin typeface="Calibri" panose="020F0502020204030204" pitchFamily="34" charset="0"/>
                <a:cs typeface="Calibri" panose="020F0502020204030204" pitchFamily="34" charset="0"/>
              </a:rPr>
              <a:t> Off</a:t>
            </a:r>
            <a:endParaRPr lang="es-VE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90" name="Elbow Connector 89"/>
          <p:cNvCxnSpPr>
            <a:stCxn id="88" idx="2"/>
          </p:cNvCxnSpPr>
          <p:nvPr/>
        </p:nvCxnSpPr>
        <p:spPr>
          <a:xfrm rot="5400000">
            <a:off x="4150526" y="3112176"/>
            <a:ext cx="422635" cy="65069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Elbow Connector 90"/>
          <p:cNvCxnSpPr>
            <a:endCxn id="89" idx="2"/>
          </p:cNvCxnSpPr>
          <p:nvPr/>
        </p:nvCxnSpPr>
        <p:spPr>
          <a:xfrm rot="16200000" flipV="1">
            <a:off x="2450187" y="3099733"/>
            <a:ext cx="422636" cy="89956"/>
          </a:xfrm>
          <a:prstGeom prst="bentConnector3">
            <a:avLst/>
          </a:prstGeom>
          <a:ln w="28575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rapezoid 91"/>
          <p:cNvSpPr/>
          <p:nvPr/>
        </p:nvSpPr>
        <p:spPr>
          <a:xfrm rot="5400000">
            <a:off x="4456496" y="3922491"/>
            <a:ext cx="3516722" cy="861425"/>
          </a:xfrm>
          <a:prstGeom prst="trapezoid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VE"/>
          </a:p>
        </p:txBody>
      </p:sp>
      <p:sp>
        <p:nvSpPr>
          <p:cNvPr id="93" name="Rectangle 92"/>
          <p:cNvSpPr/>
          <p:nvPr/>
        </p:nvSpPr>
        <p:spPr>
          <a:xfrm>
            <a:off x="6657687" y="2814178"/>
            <a:ext cx="2410691" cy="306251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l Kick Off </a:t>
            </a:r>
            <a:r>
              <a:rPr lang="en-US" sz="1600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iene</a:t>
            </a:r>
            <a:r>
              <a:rPr lang="en-US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600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formación</a:t>
            </a:r>
            <a:r>
              <a:rPr lang="en-US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600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obre</a:t>
            </a:r>
            <a:r>
              <a:rPr lang="en-US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la vision general del </a:t>
            </a:r>
            <a:r>
              <a:rPr lang="en-US" sz="1600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yecto</a:t>
            </a:r>
            <a:r>
              <a:rPr lang="en-US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el </a:t>
            </a:r>
            <a:r>
              <a:rPr lang="en-US" sz="1600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tendimiento</a:t>
            </a:r>
            <a:r>
              <a:rPr lang="en-US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el </a:t>
            </a:r>
            <a:r>
              <a:rPr lang="en-US" sz="1600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elo</a:t>
            </a:r>
            <a:r>
              <a:rPr lang="en-US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sz="1600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gocios</a:t>
            </a:r>
            <a:r>
              <a:rPr lang="en-US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y </a:t>
            </a:r>
            <a:r>
              <a:rPr lang="en-US" sz="1600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s</a:t>
            </a:r>
            <a:r>
              <a:rPr lang="en-US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600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ximos</a:t>
            </a:r>
            <a:r>
              <a:rPr lang="en-US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600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sos</a:t>
            </a:r>
            <a:r>
              <a:rPr lang="en-US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</a:p>
          <a:p>
            <a:endParaRPr lang="en-US" sz="16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600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entras</a:t>
            </a:r>
            <a:r>
              <a:rPr lang="en-US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que el plan de </a:t>
            </a:r>
            <a:r>
              <a:rPr lang="en-US" sz="1600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abajo</a:t>
            </a:r>
            <a:r>
              <a:rPr lang="en-US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escribe el </a:t>
            </a:r>
            <a:r>
              <a:rPr lang="en-US" sz="1600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onograma</a:t>
            </a:r>
            <a:r>
              <a:rPr lang="en-US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sz="1600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tividades</a:t>
            </a:r>
            <a:r>
              <a:rPr lang="en-US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y la </a:t>
            </a:r>
            <a:r>
              <a:rPr lang="en-US" sz="1600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ración</a:t>
            </a:r>
            <a:r>
              <a:rPr lang="en-US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sz="1600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da</a:t>
            </a:r>
            <a:r>
              <a:rPr lang="en-US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600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na</a:t>
            </a:r>
            <a:endParaRPr lang="es-VE" sz="1600" dirty="0">
              <a:solidFill>
                <a:schemeClr val="tx1"/>
              </a:solidFill>
            </a:endParaRPr>
          </a:p>
        </p:txBody>
      </p:sp>
      <p:sp>
        <p:nvSpPr>
          <p:cNvPr id="94" name="Rectangle 93"/>
          <p:cNvSpPr/>
          <p:nvPr/>
        </p:nvSpPr>
        <p:spPr>
          <a:xfrm>
            <a:off x="7058349" y="2679782"/>
            <a:ext cx="1634992" cy="253610"/>
          </a:xfrm>
          <a:prstGeom prst="rect">
            <a:avLst/>
          </a:prstGeom>
          <a:solidFill>
            <a:schemeClr val="tx2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VE" sz="1600" dirty="0" smtClean="0">
                <a:latin typeface="Calibri" panose="020F0502020204030204" pitchFamily="34" charset="0"/>
                <a:cs typeface="Calibri" panose="020F0502020204030204" pitchFamily="34" charset="0"/>
              </a:rPr>
              <a:t>Entregables</a:t>
            </a:r>
            <a:endParaRPr lang="es-VE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Graphic 4">
            <a:extLst>
              <a:ext uri="{FF2B5EF4-FFF2-40B4-BE49-F238E27FC236}">
                <a16:creationId xmlns:a16="http://schemas.microsoft.com/office/drawing/2014/main" id="{67F32382-B518-5F42-97B7-0E9ECF856045}"/>
              </a:ext>
            </a:extLst>
          </p:cNvPr>
          <p:cNvSpPr>
            <a:spLocks noChangeAspect="1"/>
          </p:cNvSpPr>
          <p:nvPr/>
        </p:nvSpPr>
        <p:spPr>
          <a:xfrm>
            <a:off x="442826" y="2524614"/>
            <a:ext cx="823074" cy="803842"/>
          </a:xfrm>
          <a:custGeom>
            <a:avLst/>
            <a:gdLst>
              <a:gd name="connsiteX0" fmla="*/ 180835 w 362309"/>
              <a:gd name="connsiteY0" fmla="*/ 0 h 361971"/>
              <a:gd name="connsiteX1" fmla="*/ 0 w 362309"/>
              <a:gd name="connsiteY1" fmla="*/ 181305 h 361971"/>
              <a:gd name="connsiteX2" fmla="*/ 181474 w 362309"/>
              <a:gd name="connsiteY2" fmla="*/ 361972 h 361971"/>
              <a:gd name="connsiteX3" fmla="*/ 362310 w 362309"/>
              <a:gd name="connsiteY3" fmla="*/ 181305 h 361971"/>
              <a:gd name="connsiteX4" fmla="*/ 180835 w 362309"/>
              <a:gd name="connsiteY4" fmla="*/ 0 h 361971"/>
              <a:gd name="connsiteX5" fmla="*/ 180835 w 362309"/>
              <a:gd name="connsiteY5" fmla="*/ 0 h 361971"/>
              <a:gd name="connsiteX6" fmla="*/ 99683 w 362309"/>
              <a:gd name="connsiteY6" fmla="*/ 260466 h 361971"/>
              <a:gd name="connsiteX7" fmla="*/ 83708 w 362309"/>
              <a:gd name="connsiteY7" fmla="*/ 260466 h 361971"/>
              <a:gd name="connsiteX8" fmla="*/ 77318 w 362309"/>
              <a:gd name="connsiteY8" fmla="*/ 254082 h 361971"/>
              <a:gd name="connsiteX9" fmla="*/ 83708 w 362309"/>
              <a:gd name="connsiteY9" fmla="*/ 247698 h 361971"/>
              <a:gd name="connsiteX10" fmla="*/ 99683 w 362309"/>
              <a:gd name="connsiteY10" fmla="*/ 247698 h 361971"/>
              <a:gd name="connsiteX11" fmla="*/ 106073 w 362309"/>
              <a:gd name="connsiteY11" fmla="*/ 254082 h 361971"/>
              <a:gd name="connsiteX12" fmla="*/ 99683 w 362309"/>
              <a:gd name="connsiteY12" fmla="*/ 260466 h 361971"/>
              <a:gd name="connsiteX13" fmla="*/ 99683 w 362309"/>
              <a:gd name="connsiteY13" fmla="*/ 211948 h 361971"/>
              <a:gd name="connsiteX14" fmla="*/ 83708 w 362309"/>
              <a:gd name="connsiteY14" fmla="*/ 211948 h 361971"/>
              <a:gd name="connsiteX15" fmla="*/ 77318 w 362309"/>
              <a:gd name="connsiteY15" fmla="*/ 205564 h 361971"/>
              <a:gd name="connsiteX16" fmla="*/ 83708 w 362309"/>
              <a:gd name="connsiteY16" fmla="*/ 199180 h 361971"/>
              <a:gd name="connsiteX17" fmla="*/ 99683 w 362309"/>
              <a:gd name="connsiteY17" fmla="*/ 199180 h 361971"/>
              <a:gd name="connsiteX18" fmla="*/ 106073 w 362309"/>
              <a:gd name="connsiteY18" fmla="*/ 205564 h 361971"/>
              <a:gd name="connsiteX19" fmla="*/ 99683 w 362309"/>
              <a:gd name="connsiteY19" fmla="*/ 211948 h 361971"/>
              <a:gd name="connsiteX20" fmla="*/ 99683 w 362309"/>
              <a:gd name="connsiteY20" fmla="*/ 163430 h 361971"/>
              <a:gd name="connsiteX21" fmla="*/ 83708 w 362309"/>
              <a:gd name="connsiteY21" fmla="*/ 163430 h 361971"/>
              <a:gd name="connsiteX22" fmla="*/ 77318 w 362309"/>
              <a:gd name="connsiteY22" fmla="*/ 157046 h 361971"/>
              <a:gd name="connsiteX23" fmla="*/ 83708 w 362309"/>
              <a:gd name="connsiteY23" fmla="*/ 150662 h 361971"/>
              <a:gd name="connsiteX24" fmla="*/ 99683 w 362309"/>
              <a:gd name="connsiteY24" fmla="*/ 150662 h 361971"/>
              <a:gd name="connsiteX25" fmla="*/ 106073 w 362309"/>
              <a:gd name="connsiteY25" fmla="*/ 157046 h 361971"/>
              <a:gd name="connsiteX26" fmla="*/ 99683 w 362309"/>
              <a:gd name="connsiteY26" fmla="*/ 163430 h 361971"/>
              <a:gd name="connsiteX27" fmla="*/ 99683 w 362309"/>
              <a:gd name="connsiteY27" fmla="*/ 114912 h 361971"/>
              <a:gd name="connsiteX28" fmla="*/ 83708 w 362309"/>
              <a:gd name="connsiteY28" fmla="*/ 114912 h 361971"/>
              <a:gd name="connsiteX29" fmla="*/ 77318 w 362309"/>
              <a:gd name="connsiteY29" fmla="*/ 108528 h 361971"/>
              <a:gd name="connsiteX30" fmla="*/ 83708 w 362309"/>
              <a:gd name="connsiteY30" fmla="*/ 102144 h 361971"/>
              <a:gd name="connsiteX31" fmla="*/ 99683 w 362309"/>
              <a:gd name="connsiteY31" fmla="*/ 102144 h 361971"/>
              <a:gd name="connsiteX32" fmla="*/ 106073 w 362309"/>
              <a:gd name="connsiteY32" fmla="*/ 108528 h 361971"/>
              <a:gd name="connsiteX33" fmla="*/ 99683 w 362309"/>
              <a:gd name="connsiteY33" fmla="*/ 114912 h 361971"/>
              <a:gd name="connsiteX34" fmla="*/ 277962 w 362309"/>
              <a:gd name="connsiteY34" fmla="*/ 260466 h 361971"/>
              <a:gd name="connsiteX35" fmla="*/ 139940 w 362309"/>
              <a:gd name="connsiteY35" fmla="*/ 260466 h 361971"/>
              <a:gd name="connsiteX36" fmla="*/ 133550 w 362309"/>
              <a:gd name="connsiteY36" fmla="*/ 254082 h 361971"/>
              <a:gd name="connsiteX37" fmla="*/ 139940 w 362309"/>
              <a:gd name="connsiteY37" fmla="*/ 247698 h 361971"/>
              <a:gd name="connsiteX38" fmla="*/ 277962 w 362309"/>
              <a:gd name="connsiteY38" fmla="*/ 247698 h 361971"/>
              <a:gd name="connsiteX39" fmla="*/ 284352 w 362309"/>
              <a:gd name="connsiteY39" fmla="*/ 254082 h 361971"/>
              <a:gd name="connsiteX40" fmla="*/ 277962 w 362309"/>
              <a:gd name="connsiteY40" fmla="*/ 260466 h 361971"/>
              <a:gd name="connsiteX41" fmla="*/ 277962 w 362309"/>
              <a:gd name="connsiteY41" fmla="*/ 211948 h 361971"/>
              <a:gd name="connsiteX42" fmla="*/ 139940 w 362309"/>
              <a:gd name="connsiteY42" fmla="*/ 211948 h 361971"/>
              <a:gd name="connsiteX43" fmla="*/ 133550 w 362309"/>
              <a:gd name="connsiteY43" fmla="*/ 205564 h 361971"/>
              <a:gd name="connsiteX44" fmla="*/ 139940 w 362309"/>
              <a:gd name="connsiteY44" fmla="*/ 199180 h 361971"/>
              <a:gd name="connsiteX45" fmla="*/ 277962 w 362309"/>
              <a:gd name="connsiteY45" fmla="*/ 199180 h 361971"/>
              <a:gd name="connsiteX46" fmla="*/ 284352 w 362309"/>
              <a:gd name="connsiteY46" fmla="*/ 205564 h 361971"/>
              <a:gd name="connsiteX47" fmla="*/ 277962 w 362309"/>
              <a:gd name="connsiteY47" fmla="*/ 211948 h 361971"/>
              <a:gd name="connsiteX48" fmla="*/ 277962 w 362309"/>
              <a:gd name="connsiteY48" fmla="*/ 163430 h 361971"/>
              <a:gd name="connsiteX49" fmla="*/ 139940 w 362309"/>
              <a:gd name="connsiteY49" fmla="*/ 163430 h 361971"/>
              <a:gd name="connsiteX50" fmla="*/ 133550 w 362309"/>
              <a:gd name="connsiteY50" fmla="*/ 157046 h 361971"/>
              <a:gd name="connsiteX51" fmla="*/ 139940 w 362309"/>
              <a:gd name="connsiteY51" fmla="*/ 150662 h 361971"/>
              <a:gd name="connsiteX52" fmla="*/ 277962 w 362309"/>
              <a:gd name="connsiteY52" fmla="*/ 150662 h 361971"/>
              <a:gd name="connsiteX53" fmla="*/ 284352 w 362309"/>
              <a:gd name="connsiteY53" fmla="*/ 157046 h 361971"/>
              <a:gd name="connsiteX54" fmla="*/ 277962 w 362309"/>
              <a:gd name="connsiteY54" fmla="*/ 163430 h 361971"/>
              <a:gd name="connsiteX55" fmla="*/ 277962 w 362309"/>
              <a:gd name="connsiteY55" fmla="*/ 114912 h 361971"/>
              <a:gd name="connsiteX56" fmla="*/ 139940 w 362309"/>
              <a:gd name="connsiteY56" fmla="*/ 114912 h 361971"/>
              <a:gd name="connsiteX57" fmla="*/ 133550 w 362309"/>
              <a:gd name="connsiteY57" fmla="*/ 108528 h 361971"/>
              <a:gd name="connsiteX58" fmla="*/ 139940 w 362309"/>
              <a:gd name="connsiteY58" fmla="*/ 102144 h 361971"/>
              <a:gd name="connsiteX59" fmla="*/ 277962 w 362309"/>
              <a:gd name="connsiteY59" fmla="*/ 102144 h 361971"/>
              <a:gd name="connsiteX60" fmla="*/ 284352 w 362309"/>
              <a:gd name="connsiteY60" fmla="*/ 108528 h 361971"/>
              <a:gd name="connsiteX61" fmla="*/ 277962 w 362309"/>
              <a:gd name="connsiteY61" fmla="*/ 114912 h 361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62309" h="361971">
                <a:moveTo>
                  <a:pt x="180835" y="0"/>
                </a:moveTo>
                <a:cubicBezTo>
                  <a:pt x="80513" y="0"/>
                  <a:pt x="0" y="81077"/>
                  <a:pt x="0" y="181305"/>
                </a:cubicBezTo>
                <a:cubicBezTo>
                  <a:pt x="0" y="281533"/>
                  <a:pt x="81152" y="361972"/>
                  <a:pt x="181474" y="361972"/>
                </a:cubicBezTo>
                <a:cubicBezTo>
                  <a:pt x="281157" y="361972"/>
                  <a:pt x="362310" y="280895"/>
                  <a:pt x="362310" y="181305"/>
                </a:cubicBezTo>
                <a:cubicBezTo>
                  <a:pt x="362310" y="81077"/>
                  <a:pt x="281157" y="0"/>
                  <a:pt x="180835" y="0"/>
                </a:cubicBezTo>
                <a:cubicBezTo>
                  <a:pt x="180835" y="0"/>
                  <a:pt x="180835" y="0"/>
                  <a:pt x="180835" y="0"/>
                </a:cubicBezTo>
                <a:close/>
                <a:moveTo>
                  <a:pt x="99683" y="260466"/>
                </a:moveTo>
                <a:lnTo>
                  <a:pt x="83708" y="260466"/>
                </a:lnTo>
                <a:cubicBezTo>
                  <a:pt x="79874" y="260466"/>
                  <a:pt x="77318" y="257913"/>
                  <a:pt x="77318" y="254082"/>
                </a:cubicBezTo>
                <a:cubicBezTo>
                  <a:pt x="77318" y="250252"/>
                  <a:pt x="79874" y="247698"/>
                  <a:pt x="83708" y="247698"/>
                </a:cubicBezTo>
                <a:lnTo>
                  <a:pt x="99683" y="247698"/>
                </a:lnTo>
                <a:cubicBezTo>
                  <a:pt x="103517" y="247698"/>
                  <a:pt x="106073" y="250252"/>
                  <a:pt x="106073" y="254082"/>
                </a:cubicBezTo>
                <a:cubicBezTo>
                  <a:pt x="106073" y="257913"/>
                  <a:pt x="103517" y="260466"/>
                  <a:pt x="99683" y="260466"/>
                </a:cubicBezTo>
                <a:close/>
                <a:moveTo>
                  <a:pt x="99683" y="211948"/>
                </a:moveTo>
                <a:lnTo>
                  <a:pt x="83708" y="211948"/>
                </a:lnTo>
                <a:cubicBezTo>
                  <a:pt x="79874" y="211948"/>
                  <a:pt x="77318" y="209395"/>
                  <a:pt x="77318" y="205564"/>
                </a:cubicBezTo>
                <a:cubicBezTo>
                  <a:pt x="77318" y="201734"/>
                  <a:pt x="79874" y="199180"/>
                  <a:pt x="83708" y="199180"/>
                </a:cubicBezTo>
                <a:lnTo>
                  <a:pt x="99683" y="199180"/>
                </a:lnTo>
                <a:cubicBezTo>
                  <a:pt x="103517" y="199180"/>
                  <a:pt x="106073" y="201734"/>
                  <a:pt x="106073" y="205564"/>
                </a:cubicBezTo>
                <a:cubicBezTo>
                  <a:pt x="106073" y="209395"/>
                  <a:pt x="103517" y="211948"/>
                  <a:pt x="99683" y="211948"/>
                </a:cubicBezTo>
                <a:close/>
                <a:moveTo>
                  <a:pt x="99683" y="163430"/>
                </a:moveTo>
                <a:lnTo>
                  <a:pt x="83708" y="163430"/>
                </a:lnTo>
                <a:cubicBezTo>
                  <a:pt x="79874" y="163430"/>
                  <a:pt x="77318" y="160876"/>
                  <a:pt x="77318" y="157046"/>
                </a:cubicBezTo>
                <a:cubicBezTo>
                  <a:pt x="77318" y="153216"/>
                  <a:pt x="79874" y="150662"/>
                  <a:pt x="83708" y="150662"/>
                </a:cubicBezTo>
                <a:lnTo>
                  <a:pt x="99683" y="150662"/>
                </a:lnTo>
                <a:cubicBezTo>
                  <a:pt x="103517" y="150662"/>
                  <a:pt x="106073" y="153216"/>
                  <a:pt x="106073" y="157046"/>
                </a:cubicBezTo>
                <a:cubicBezTo>
                  <a:pt x="106073" y="160876"/>
                  <a:pt x="103517" y="163430"/>
                  <a:pt x="99683" y="163430"/>
                </a:cubicBezTo>
                <a:close/>
                <a:moveTo>
                  <a:pt x="99683" y="114912"/>
                </a:moveTo>
                <a:lnTo>
                  <a:pt x="83708" y="114912"/>
                </a:lnTo>
                <a:cubicBezTo>
                  <a:pt x="79874" y="114912"/>
                  <a:pt x="77318" y="112358"/>
                  <a:pt x="77318" y="108528"/>
                </a:cubicBezTo>
                <a:cubicBezTo>
                  <a:pt x="77318" y="104697"/>
                  <a:pt x="79874" y="102144"/>
                  <a:pt x="83708" y="102144"/>
                </a:cubicBezTo>
                <a:lnTo>
                  <a:pt x="99683" y="102144"/>
                </a:lnTo>
                <a:cubicBezTo>
                  <a:pt x="103517" y="102144"/>
                  <a:pt x="106073" y="104697"/>
                  <a:pt x="106073" y="108528"/>
                </a:cubicBezTo>
                <a:cubicBezTo>
                  <a:pt x="106073" y="112358"/>
                  <a:pt x="103517" y="114912"/>
                  <a:pt x="99683" y="114912"/>
                </a:cubicBezTo>
                <a:close/>
                <a:moveTo>
                  <a:pt x="277962" y="260466"/>
                </a:moveTo>
                <a:lnTo>
                  <a:pt x="139940" y="260466"/>
                </a:lnTo>
                <a:cubicBezTo>
                  <a:pt x="136106" y="260466"/>
                  <a:pt x="133550" y="257913"/>
                  <a:pt x="133550" y="254082"/>
                </a:cubicBezTo>
                <a:cubicBezTo>
                  <a:pt x="133550" y="250252"/>
                  <a:pt x="136106" y="247698"/>
                  <a:pt x="139940" y="247698"/>
                </a:cubicBezTo>
                <a:lnTo>
                  <a:pt x="277962" y="247698"/>
                </a:lnTo>
                <a:cubicBezTo>
                  <a:pt x="281796" y="247698"/>
                  <a:pt x="284352" y="250252"/>
                  <a:pt x="284352" y="254082"/>
                </a:cubicBezTo>
                <a:cubicBezTo>
                  <a:pt x="284352" y="257913"/>
                  <a:pt x="281796" y="260466"/>
                  <a:pt x="277962" y="260466"/>
                </a:cubicBezTo>
                <a:close/>
                <a:moveTo>
                  <a:pt x="277962" y="211948"/>
                </a:moveTo>
                <a:lnTo>
                  <a:pt x="139940" y="211948"/>
                </a:lnTo>
                <a:cubicBezTo>
                  <a:pt x="136106" y="211948"/>
                  <a:pt x="133550" y="209395"/>
                  <a:pt x="133550" y="205564"/>
                </a:cubicBezTo>
                <a:cubicBezTo>
                  <a:pt x="133550" y="201734"/>
                  <a:pt x="136106" y="199180"/>
                  <a:pt x="139940" y="199180"/>
                </a:cubicBezTo>
                <a:lnTo>
                  <a:pt x="277962" y="199180"/>
                </a:lnTo>
                <a:cubicBezTo>
                  <a:pt x="281796" y="199180"/>
                  <a:pt x="284352" y="201734"/>
                  <a:pt x="284352" y="205564"/>
                </a:cubicBezTo>
                <a:cubicBezTo>
                  <a:pt x="284352" y="209395"/>
                  <a:pt x="281796" y="211948"/>
                  <a:pt x="277962" y="211948"/>
                </a:cubicBezTo>
                <a:close/>
                <a:moveTo>
                  <a:pt x="277962" y="163430"/>
                </a:moveTo>
                <a:lnTo>
                  <a:pt x="139940" y="163430"/>
                </a:lnTo>
                <a:cubicBezTo>
                  <a:pt x="136106" y="163430"/>
                  <a:pt x="133550" y="160876"/>
                  <a:pt x="133550" y="157046"/>
                </a:cubicBezTo>
                <a:cubicBezTo>
                  <a:pt x="133550" y="153216"/>
                  <a:pt x="136106" y="150662"/>
                  <a:pt x="139940" y="150662"/>
                </a:cubicBezTo>
                <a:lnTo>
                  <a:pt x="277962" y="150662"/>
                </a:lnTo>
                <a:cubicBezTo>
                  <a:pt x="281796" y="150662"/>
                  <a:pt x="284352" y="153216"/>
                  <a:pt x="284352" y="157046"/>
                </a:cubicBezTo>
                <a:cubicBezTo>
                  <a:pt x="284352" y="160876"/>
                  <a:pt x="281796" y="163430"/>
                  <a:pt x="277962" y="163430"/>
                </a:cubicBezTo>
                <a:close/>
                <a:moveTo>
                  <a:pt x="277962" y="114912"/>
                </a:moveTo>
                <a:lnTo>
                  <a:pt x="139940" y="114912"/>
                </a:lnTo>
                <a:cubicBezTo>
                  <a:pt x="136106" y="114912"/>
                  <a:pt x="133550" y="112358"/>
                  <a:pt x="133550" y="108528"/>
                </a:cubicBezTo>
                <a:cubicBezTo>
                  <a:pt x="133550" y="104697"/>
                  <a:pt x="136106" y="102144"/>
                  <a:pt x="139940" y="102144"/>
                </a:cubicBezTo>
                <a:lnTo>
                  <a:pt x="277962" y="102144"/>
                </a:lnTo>
                <a:cubicBezTo>
                  <a:pt x="281796" y="102144"/>
                  <a:pt x="284352" y="104697"/>
                  <a:pt x="284352" y="108528"/>
                </a:cubicBezTo>
                <a:cubicBezTo>
                  <a:pt x="284352" y="112358"/>
                  <a:pt x="281796" y="114912"/>
                  <a:pt x="277962" y="114912"/>
                </a:cubicBezTo>
                <a:close/>
              </a:path>
            </a:pathLst>
          </a:custGeom>
          <a:solidFill>
            <a:schemeClr val="accent6"/>
          </a:solidFill>
          <a:ln w="639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25" name="Graphic 4">
            <a:extLst>
              <a:ext uri="{FF2B5EF4-FFF2-40B4-BE49-F238E27FC236}">
                <a16:creationId xmlns:a16="http://schemas.microsoft.com/office/drawing/2014/main" id="{631E1B78-EB33-5C4B-B8B6-97A5624FC74B}"/>
              </a:ext>
            </a:extLst>
          </p:cNvPr>
          <p:cNvGrpSpPr>
            <a:grpSpLocks noChangeAspect="1"/>
          </p:cNvGrpSpPr>
          <p:nvPr/>
        </p:nvGrpSpPr>
        <p:grpSpPr>
          <a:xfrm>
            <a:off x="3344123" y="3344217"/>
            <a:ext cx="1986719" cy="2276622"/>
            <a:chOff x="7191874" y="4308712"/>
            <a:chExt cx="362312" cy="361971"/>
          </a:xfrm>
          <a:solidFill>
            <a:schemeClr val="accent1"/>
          </a:solidFill>
        </p:grpSpPr>
        <p:sp>
          <p:nvSpPr>
            <p:cNvPr id="26" name="Graphic 4">
              <a:extLst>
                <a:ext uri="{FF2B5EF4-FFF2-40B4-BE49-F238E27FC236}">
                  <a16:creationId xmlns:a16="http://schemas.microsoft.com/office/drawing/2014/main" id="{389E3FFC-B0C7-4D48-83AA-047C9B979921}"/>
                </a:ext>
              </a:extLst>
            </p:cNvPr>
            <p:cNvSpPr/>
            <p:nvPr/>
          </p:nvSpPr>
          <p:spPr>
            <a:xfrm>
              <a:off x="7289000" y="4412132"/>
              <a:ext cx="169972" cy="169175"/>
            </a:xfrm>
            <a:custGeom>
              <a:avLst/>
              <a:gdLst>
                <a:gd name="connsiteX0" fmla="*/ 136745 w 169972"/>
                <a:gd name="connsiteY0" fmla="*/ 8938 h 169175"/>
                <a:gd name="connsiteX1" fmla="*/ 130355 w 169972"/>
                <a:gd name="connsiteY1" fmla="*/ 15322 h 169175"/>
                <a:gd name="connsiteX2" fmla="*/ 123965 w 169972"/>
                <a:gd name="connsiteY2" fmla="*/ 8938 h 169175"/>
                <a:gd name="connsiteX3" fmla="*/ 123965 w 169972"/>
                <a:gd name="connsiteY3" fmla="*/ 0 h 169175"/>
                <a:gd name="connsiteX4" fmla="*/ 45369 w 169972"/>
                <a:gd name="connsiteY4" fmla="*/ 0 h 169175"/>
                <a:gd name="connsiteX5" fmla="*/ 45369 w 169972"/>
                <a:gd name="connsiteY5" fmla="*/ 8938 h 169175"/>
                <a:gd name="connsiteX6" fmla="*/ 38979 w 169972"/>
                <a:gd name="connsiteY6" fmla="*/ 15322 h 169175"/>
                <a:gd name="connsiteX7" fmla="*/ 32589 w 169972"/>
                <a:gd name="connsiteY7" fmla="*/ 8938 h 169175"/>
                <a:gd name="connsiteX8" fmla="*/ 32589 w 169972"/>
                <a:gd name="connsiteY8" fmla="*/ 0 h 169175"/>
                <a:gd name="connsiteX9" fmla="*/ 0 w 169972"/>
                <a:gd name="connsiteY9" fmla="*/ 0 h 169175"/>
                <a:gd name="connsiteX10" fmla="*/ 0 w 169972"/>
                <a:gd name="connsiteY10" fmla="*/ 169176 h 169175"/>
                <a:gd name="connsiteX11" fmla="*/ 169973 w 169972"/>
                <a:gd name="connsiteY11" fmla="*/ 169176 h 169175"/>
                <a:gd name="connsiteX12" fmla="*/ 169973 w 169972"/>
                <a:gd name="connsiteY12" fmla="*/ 0 h 169175"/>
                <a:gd name="connsiteX13" fmla="*/ 137384 w 169972"/>
                <a:gd name="connsiteY13" fmla="*/ 0 h 169175"/>
                <a:gd name="connsiteX14" fmla="*/ 137384 w 169972"/>
                <a:gd name="connsiteY14" fmla="*/ 8938 h 169175"/>
                <a:gd name="connsiteX15" fmla="*/ 23004 w 169972"/>
                <a:gd name="connsiteY15" fmla="*/ 144278 h 169175"/>
                <a:gd name="connsiteX16" fmla="*/ 15336 w 169972"/>
                <a:gd name="connsiteY16" fmla="*/ 136617 h 169175"/>
                <a:gd name="connsiteX17" fmla="*/ 23004 w 169972"/>
                <a:gd name="connsiteY17" fmla="*/ 128957 h 169175"/>
                <a:gd name="connsiteX18" fmla="*/ 30672 w 169972"/>
                <a:gd name="connsiteY18" fmla="*/ 136617 h 169175"/>
                <a:gd name="connsiteX19" fmla="*/ 30672 w 169972"/>
                <a:gd name="connsiteY19" fmla="*/ 136617 h 169175"/>
                <a:gd name="connsiteX20" fmla="*/ 23004 w 169972"/>
                <a:gd name="connsiteY20" fmla="*/ 144278 h 169175"/>
                <a:gd name="connsiteX21" fmla="*/ 23004 w 169972"/>
                <a:gd name="connsiteY21" fmla="*/ 144278 h 169175"/>
                <a:gd name="connsiteX22" fmla="*/ 23004 w 169972"/>
                <a:gd name="connsiteY22" fmla="*/ 144278 h 169175"/>
                <a:gd name="connsiteX23" fmla="*/ 23004 w 169972"/>
                <a:gd name="connsiteY23" fmla="*/ 113635 h 169175"/>
                <a:gd name="connsiteX24" fmla="*/ 15336 w 169972"/>
                <a:gd name="connsiteY24" fmla="*/ 105974 h 169175"/>
                <a:gd name="connsiteX25" fmla="*/ 23004 w 169972"/>
                <a:gd name="connsiteY25" fmla="*/ 98313 h 169175"/>
                <a:gd name="connsiteX26" fmla="*/ 30672 w 169972"/>
                <a:gd name="connsiteY26" fmla="*/ 105974 h 169175"/>
                <a:gd name="connsiteX27" fmla="*/ 30672 w 169972"/>
                <a:gd name="connsiteY27" fmla="*/ 105974 h 169175"/>
                <a:gd name="connsiteX28" fmla="*/ 23004 w 169972"/>
                <a:gd name="connsiteY28" fmla="*/ 113635 h 169175"/>
                <a:gd name="connsiteX29" fmla="*/ 23004 w 169972"/>
                <a:gd name="connsiteY29" fmla="*/ 113635 h 169175"/>
                <a:gd name="connsiteX30" fmla="*/ 23004 w 169972"/>
                <a:gd name="connsiteY30" fmla="*/ 82992 h 169175"/>
                <a:gd name="connsiteX31" fmla="*/ 15336 w 169972"/>
                <a:gd name="connsiteY31" fmla="*/ 75331 h 169175"/>
                <a:gd name="connsiteX32" fmla="*/ 23004 w 169972"/>
                <a:gd name="connsiteY32" fmla="*/ 67670 h 169175"/>
                <a:gd name="connsiteX33" fmla="*/ 30672 w 169972"/>
                <a:gd name="connsiteY33" fmla="*/ 75331 h 169175"/>
                <a:gd name="connsiteX34" fmla="*/ 30672 w 169972"/>
                <a:gd name="connsiteY34" fmla="*/ 75331 h 169175"/>
                <a:gd name="connsiteX35" fmla="*/ 23004 w 169972"/>
                <a:gd name="connsiteY35" fmla="*/ 82992 h 169175"/>
                <a:gd name="connsiteX36" fmla="*/ 23004 w 169972"/>
                <a:gd name="connsiteY36" fmla="*/ 52349 h 169175"/>
                <a:gd name="connsiteX37" fmla="*/ 15336 w 169972"/>
                <a:gd name="connsiteY37" fmla="*/ 44688 h 169175"/>
                <a:gd name="connsiteX38" fmla="*/ 23004 w 169972"/>
                <a:gd name="connsiteY38" fmla="*/ 37027 h 169175"/>
                <a:gd name="connsiteX39" fmla="*/ 30672 w 169972"/>
                <a:gd name="connsiteY39" fmla="*/ 44688 h 169175"/>
                <a:gd name="connsiteX40" fmla="*/ 30672 w 169972"/>
                <a:gd name="connsiteY40" fmla="*/ 44688 h 169175"/>
                <a:gd name="connsiteX41" fmla="*/ 23004 w 169972"/>
                <a:gd name="connsiteY41" fmla="*/ 52349 h 169175"/>
                <a:gd name="connsiteX42" fmla="*/ 53676 w 169972"/>
                <a:gd name="connsiteY42" fmla="*/ 144278 h 169175"/>
                <a:gd name="connsiteX43" fmla="*/ 46008 w 169972"/>
                <a:gd name="connsiteY43" fmla="*/ 136617 h 169175"/>
                <a:gd name="connsiteX44" fmla="*/ 53676 w 169972"/>
                <a:gd name="connsiteY44" fmla="*/ 128957 h 169175"/>
                <a:gd name="connsiteX45" fmla="*/ 61344 w 169972"/>
                <a:gd name="connsiteY45" fmla="*/ 136617 h 169175"/>
                <a:gd name="connsiteX46" fmla="*/ 61344 w 169972"/>
                <a:gd name="connsiteY46" fmla="*/ 136617 h 169175"/>
                <a:gd name="connsiteX47" fmla="*/ 53676 w 169972"/>
                <a:gd name="connsiteY47" fmla="*/ 144278 h 169175"/>
                <a:gd name="connsiteX48" fmla="*/ 53676 w 169972"/>
                <a:gd name="connsiteY48" fmla="*/ 144278 h 169175"/>
                <a:gd name="connsiteX49" fmla="*/ 53676 w 169972"/>
                <a:gd name="connsiteY49" fmla="*/ 144278 h 169175"/>
                <a:gd name="connsiteX50" fmla="*/ 53676 w 169972"/>
                <a:gd name="connsiteY50" fmla="*/ 113635 h 169175"/>
                <a:gd name="connsiteX51" fmla="*/ 46008 w 169972"/>
                <a:gd name="connsiteY51" fmla="*/ 105974 h 169175"/>
                <a:gd name="connsiteX52" fmla="*/ 53676 w 169972"/>
                <a:gd name="connsiteY52" fmla="*/ 98313 h 169175"/>
                <a:gd name="connsiteX53" fmla="*/ 61344 w 169972"/>
                <a:gd name="connsiteY53" fmla="*/ 105974 h 169175"/>
                <a:gd name="connsiteX54" fmla="*/ 61344 w 169972"/>
                <a:gd name="connsiteY54" fmla="*/ 105974 h 169175"/>
                <a:gd name="connsiteX55" fmla="*/ 53676 w 169972"/>
                <a:gd name="connsiteY55" fmla="*/ 113635 h 169175"/>
                <a:gd name="connsiteX56" fmla="*/ 53676 w 169972"/>
                <a:gd name="connsiteY56" fmla="*/ 113635 h 169175"/>
                <a:gd name="connsiteX57" fmla="*/ 53676 w 169972"/>
                <a:gd name="connsiteY57" fmla="*/ 113635 h 169175"/>
                <a:gd name="connsiteX58" fmla="*/ 53676 w 169972"/>
                <a:gd name="connsiteY58" fmla="*/ 82992 h 169175"/>
                <a:gd name="connsiteX59" fmla="*/ 46008 w 169972"/>
                <a:gd name="connsiteY59" fmla="*/ 75331 h 169175"/>
                <a:gd name="connsiteX60" fmla="*/ 53676 w 169972"/>
                <a:gd name="connsiteY60" fmla="*/ 67670 h 169175"/>
                <a:gd name="connsiteX61" fmla="*/ 61344 w 169972"/>
                <a:gd name="connsiteY61" fmla="*/ 75331 h 169175"/>
                <a:gd name="connsiteX62" fmla="*/ 61344 w 169972"/>
                <a:gd name="connsiteY62" fmla="*/ 75331 h 169175"/>
                <a:gd name="connsiteX63" fmla="*/ 53676 w 169972"/>
                <a:gd name="connsiteY63" fmla="*/ 82992 h 169175"/>
                <a:gd name="connsiteX64" fmla="*/ 53676 w 169972"/>
                <a:gd name="connsiteY64" fmla="*/ 82992 h 169175"/>
                <a:gd name="connsiteX65" fmla="*/ 53676 w 169972"/>
                <a:gd name="connsiteY65" fmla="*/ 82992 h 169175"/>
                <a:gd name="connsiteX66" fmla="*/ 53676 w 169972"/>
                <a:gd name="connsiteY66" fmla="*/ 52349 h 169175"/>
                <a:gd name="connsiteX67" fmla="*/ 46008 w 169972"/>
                <a:gd name="connsiteY67" fmla="*/ 44688 h 169175"/>
                <a:gd name="connsiteX68" fmla="*/ 53676 w 169972"/>
                <a:gd name="connsiteY68" fmla="*/ 37027 h 169175"/>
                <a:gd name="connsiteX69" fmla="*/ 61344 w 169972"/>
                <a:gd name="connsiteY69" fmla="*/ 44688 h 169175"/>
                <a:gd name="connsiteX70" fmla="*/ 61344 w 169972"/>
                <a:gd name="connsiteY70" fmla="*/ 44688 h 169175"/>
                <a:gd name="connsiteX71" fmla="*/ 53676 w 169972"/>
                <a:gd name="connsiteY71" fmla="*/ 52349 h 169175"/>
                <a:gd name="connsiteX72" fmla="*/ 53676 w 169972"/>
                <a:gd name="connsiteY72" fmla="*/ 52349 h 169175"/>
                <a:gd name="connsiteX73" fmla="*/ 53676 w 169972"/>
                <a:gd name="connsiteY73" fmla="*/ 52349 h 169175"/>
                <a:gd name="connsiteX74" fmla="*/ 84348 w 169972"/>
                <a:gd name="connsiteY74" fmla="*/ 144278 h 169175"/>
                <a:gd name="connsiteX75" fmla="*/ 76679 w 169972"/>
                <a:gd name="connsiteY75" fmla="*/ 136617 h 169175"/>
                <a:gd name="connsiteX76" fmla="*/ 84348 w 169972"/>
                <a:gd name="connsiteY76" fmla="*/ 128957 h 169175"/>
                <a:gd name="connsiteX77" fmla="*/ 92015 w 169972"/>
                <a:gd name="connsiteY77" fmla="*/ 136617 h 169175"/>
                <a:gd name="connsiteX78" fmla="*/ 92015 w 169972"/>
                <a:gd name="connsiteY78" fmla="*/ 136617 h 169175"/>
                <a:gd name="connsiteX79" fmla="*/ 84348 w 169972"/>
                <a:gd name="connsiteY79" fmla="*/ 144278 h 169175"/>
                <a:gd name="connsiteX80" fmla="*/ 84348 w 169972"/>
                <a:gd name="connsiteY80" fmla="*/ 144278 h 169175"/>
                <a:gd name="connsiteX81" fmla="*/ 84348 w 169972"/>
                <a:gd name="connsiteY81" fmla="*/ 144278 h 169175"/>
                <a:gd name="connsiteX82" fmla="*/ 84348 w 169972"/>
                <a:gd name="connsiteY82" fmla="*/ 113635 h 169175"/>
                <a:gd name="connsiteX83" fmla="*/ 76679 w 169972"/>
                <a:gd name="connsiteY83" fmla="*/ 105974 h 169175"/>
                <a:gd name="connsiteX84" fmla="*/ 84348 w 169972"/>
                <a:gd name="connsiteY84" fmla="*/ 98313 h 169175"/>
                <a:gd name="connsiteX85" fmla="*/ 92015 w 169972"/>
                <a:gd name="connsiteY85" fmla="*/ 105974 h 169175"/>
                <a:gd name="connsiteX86" fmla="*/ 92015 w 169972"/>
                <a:gd name="connsiteY86" fmla="*/ 105974 h 169175"/>
                <a:gd name="connsiteX87" fmla="*/ 84348 w 169972"/>
                <a:gd name="connsiteY87" fmla="*/ 113635 h 169175"/>
                <a:gd name="connsiteX88" fmla="*/ 84348 w 169972"/>
                <a:gd name="connsiteY88" fmla="*/ 113635 h 169175"/>
                <a:gd name="connsiteX89" fmla="*/ 84348 w 169972"/>
                <a:gd name="connsiteY89" fmla="*/ 113635 h 169175"/>
                <a:gd name="connsiteX90" fmla="*/ 84348 w 169972"/>
                <a:gd name="connsiteY90" fmla="*/ 82992 h 169175"/>
                <a:gd name="connsiteX91" fmla="*/ 76679 w 169972"/>
                <a:gd name="connsiteY91" fmla="*/ 75331 h 169175"/>
                <a:gd name="connsiteX92" fmla="*/ 84348 w 169972"/>
                <a:gd name="connsiteY92" fmla="*/ 67670 h 169175"/>
                <a:gd name="connsiteX93" fmla="*/ 92015 w 169972"/>
                <a:gd name="connsiteY93" fmla="*/ 75331 h 169175"/>
                <a:gd name="connsiteX94" fmla="*/ 92015 w 169972"/>
                <a:gd name="connsiteY94" fmla="*/ 75331 h 169175"/>
                <a:gd name="connsiteX95" fmla="*/ 84348 w 169972"/>
                <a:gd name="connsiteY95" fmla="*/ 82992 h 169175"/>
                <a:gd name="connsiteX96" fmla="*/ 84348 w 169972"/>
                <a:gd name="connsiteY96" fmla="*/ 82992 h 169175"/>
                <a:gd name="connsiteX97" fmla="*/ 84348 w 169972"/>
                <a:gd name="connsiteY97" fmla="*/ 52349 h 169175"/>
                <a:gd name="connsiteX98" fmla="*/ 76679 w 169972"/>
                <a:gd name="connsiteY98" fmla="*/ 44688 h 169175"/>
                <a:gd name="connsiteX99" fmla="*/ 84348 w 169972"/>
                <a:gd name="connsiteY99" fmla="*/ 37027 h 169175"/>
                <a:gd name="connsiteX100" fmla="*/ 92015 w 169972"/>
                <a:gd name="connsiteY100" fmla="*/ 44688 h 169175"/>
                <a:gd name="connsiteX101" fmla="*/ 92015 w 169972"/>
                <a:gd name="connsiteY101" fmla="*/ 44688 h 169175"/>
                <a:gd name="connsiteX102" fmla="*/ 84348 w 169972"/>
                <a:gd name="connsiteY102" fmla="*/ 52349 h 169175"/>
                <a:gd name="connsiteX103" fmla="*/ 84348 w 169972"/>
                <a:gd name="connsiteY103" fmla="*/ 52349 h 169175"/>
                <a:gd name="connsiteX104" fmla="*/ 115019 w 169972"/>
                <a:gd name="connsiteY104" fmla="*/ 144278 h 169175"/>
                <a:gd name="connsiteX105" fmla="*/ 107351 w 169972"/>
                <a:gd name="connsiteY105" fmla="*/ 136617 h 169175"/>
                <a:gd name="connsiteX106" fmla="*/ 115019 w 169972"/>
                <a:gd name="connsiteY106" fmla="*/ 128957 h 169175"/>
                <a:gd name="connsiteX107" fmla="*/ 122687 w 169972"/>
                <a:gd name="connsiteY107" fmla="*/ 136617 h 169175"/>
                <a:gd name="connsiteX108" fmla="*/ 122687 w 169972"/>
                <a:gd name="connsiteY108" fmla="*/ 136617 h 169175"/>
                <a:gd name="connsiteX109" fmla="*/ 115019 w 169972"/>
                <a:gd name="connsiteY109" fmla="*/ 144278 h 169175"/>
                <a:gd name="connsiteX110" fmla="*/ 115019 w 169972"/>
                <a:gd name="connsiteY110" fmla="*/ 144278 h 169175"/>
                <a:gd name="connsiteX111" fmla="*/ 115019 w 169972"/>
                <a:gd name="connsiteY111" fmla="*/ 144278 h 169175"/>
                <a:gd name="connsiteX112" fmla="*/ 115019 w 169972"/>
                <a:gd name="connsiteY112" fmla="*/ 113635 h 169175"/>
                <a:gd name="connsiteX113" fmla="*/ 107351 w 169972"/>
                <a:gd name="connsiteY113" fmla="*/ 105974 h 169175"/>
                <a:gd name="connsiteX114" fmla="*/ 115019 w 169972"/>
                <a:gd name="connsiteY114" fmla="*/ 98313 h 169175"/>
                <a:gd name="connsiteX115" fmla="*/ 122687 w 169972"/>
                <a:gd name="connsiteY115" fmla="*/ 105974 h 169175"/>
                <a:gd name="connsiteX116" fmla="*/ 122687 w 169972"/>
                <a:gd name="connsiteY116" fmla="*/ 105974 h 169175"/>
                <a:gd name="connsiteX117" fmla="*/ 115019 w 169972"/>
                <a:gd name="connsiteY117" fmla="*/ 113635 h 169175"/>
                <a:gd name="connsiteX118" fmla="*/ 115019 w 169972"/>
                <a:gd name="connsiteY118" fmla="*/ 113635 h 169175"/>
                <a:gd name="connsiteX119" fmla="*/ 115019 w 169972"/>
                <a:gd name="connsiteY119" fmla="*/ 113635 h 169175"/>
                <a:gd name="connsiteX120" fmla="*/ 115019 w 169972"/>
                <a:gd name="connsiteY120" fmla="*/ 82992 h 169175"/>
                <a:gd name="connsiteX121" fmla="*/ 107351 w 169972"/>
                <a:gd name="connsiteY121" fmla="*/ 75331 h 169175"/>
                <a:gd name="connsiteX122" fmla="*/ 115019 w 169972"/>
                <a:gd name="connsiteY122" fmla="*/ 67670 h 169175"/>
                <a:gd name="connsiteX123" fmla="*/ 122687 w 169972"/>
                <a:gd name="connsiteY123" fmla="*/ 75331 h 169175"/>
                <a:gd name="connsiteX124" fmla="*/ 122687 w 169972"/>
                <a:gd name="connsiteY124" fmla="*/ 75331 h 169175"/>
                <a:gd name="connsiteX125" fmla="*/ 115019 w 169972"/>
                <a:gd name="connsiteY125" fmla="*/ 82992 h 169175"/>
                <a:gd name="connsiteX126" fmla="*/ 115019 w 169972"/>
                <a:gd name="connsiteY126" fmla="*/ 82992 h 169175"/>
                <a:gd name="connsiteX127" fmla="*/ 115019 w 169972"/>
                <a:gd name="connsiteY127" fmla="*/ 52349 h 169175"/>
                <a:gd name="connsiteX128" fmla="*/ 107351 w 169972"/>
                <a:gd name="connsiteY128" fmla="*/ 44688 h 169175"/>
                <a:gd name="connsiteX129" fmla="*/ 115019 w 169972"/>
                <a:gd name="connsiteY129" fmla="*/ 37027 h 169175"/>
                <a:gd name="connsiteX130" fmla="*/ 122687 w 169972"/>
                <a:gd name="connsiteY130" fmla="*/ 44688 h 169175"/>
                <a:gd name="connsiteX131" fmla="*/ 122687 w 169972"/>
                <a:gd name="connsiteY131" fmla="*/ 44688 h 169175"/>
                <a:gd name="connsiteX132" fmla="*/ 115019 w 169972"/>
                <a:gd name="connsiteY132" fmla="*/ 52349 h 169175"/>
                <a:gd name="connsiteX133" fmla="*/ 115019 w 169972"/>
                <a:gd name="connsiteY133" fmla="*/ 52349 h 169175"/>
                <a:gd name="connsiteX134" fmla="*/ 145691 w 169972"/>
                <a:gd name="connsiteY134" fmla="*/ 113635 h 169175"/>
                <a:gd name="connsiteX135" fmla="*/ 138023 w 169972"/>
                <a:gd name="connsiteY135" fmla="*/ 105974 h 169175"/>
                <a:gd name="connsiteX136" fmla="*/ 145691 w 169972"/>
                <a:gd name="connsiteY136" fmla="*/ 98313 h 169175"/>
                <a:gd name="connsiteX137" fmla="*/ 153358 w 169972"/>
                <a:gd name="connsiteY137" fmla="*/ 105974 h 169175"/>
                <a:gd name="connsiteX138" fmla="*/ 153358 w 169972"/>
                <a:gd name="connsiteY138" fmla="*/ 105974 h 169175"/>
                <a:gd name="connsiteX139" fmla="*/ 145691 w 169972"/>
                <a:gd name="connsiteY139" fmla="*/ 113635 h 169175"/>
                <a:gd name="connsiteX140" fmla="*/ 145691 w 169972"/>
                <a:gd name="connsiteY140" fmla="*/ 113635 h 169175"/>
                <a:gd name="connsiteX141" fmla="*/ 145691 w 169972"/>
                <a:gd name="connsiteY141" fmla="*/ 113635 h 169175"/>
                <a:gd name="connsiteX142" fmla="*/ 145691 w 169972"/>
                <a:gd name="connsiteY142" fmla="*/ 37027 h 169175"/>
                <a:gd name="connsiteX143" fmla="*/ 153358 w 169972"/>
                <a:gd name="connsiteY143" fmla="*/ 44688 h 169175"/>
                <a:gd name="connsiteX144" fmla="*/ 145691 w 169972"/>
                <a:gd name="connsiteY144" fmla="*/ 52349 h 169175"/>
                <a:gd name="connsiteX145" fmla="*/ 138023 w 169972"/>
                <a:gd name="connsiteY145" fmla="*/ 44688 h 169175"/>
                <a:gd name="connsiteX146" fmla="*/ 138023 w 169972"/>
                <a:gd name="connsiteY146" fmla="*/ 44688 h 169175"/>
                <a:gd name="connsiteX147" fmla="*/ 145691 w 169972"/>
                <a:gd name="connsiteY147" fmla="*/ 37027 h 169175"/>
                <a:gd name="connsiteX148" fmla="*/ 145691 w 169972"/>
                <a:gd name="connsiteY148" fmla="*/ 37027 h 169175"/>
                <a:gd name="connsiteX149" fmla="*/ 145691 w 169972"/>
                <a:gd name="connsiteY149" fmla="*/ 37027 h 169175"/>
                <a:gd name="connsiteX150" fmla="*/ 145691 w 169972"/>
                <a:gd name="connsiteY150" fmla="*/ 67670 h 169175"/>
                <a:gd name="connsiteX151" fmla="*/ 153358 w 169972"/>
                <a:gd name="connsiteY151" fmla="*/ 75331 h 169175"/>
                <a:gd name="connsiteX152" fmla="*/ 145691 w 169972"/>
                <a:gd name="connsiteY152" fmla="*/ 82992 h 169175"/>
                <a:gd name="connsiteX153" fmla="*/ 138023 w 169972"/>
                <a:gd name="connsiteY153" fmla="*/ 75331 h 169175"/>
                <a:gd name="connsiteX154" fmla="*/ 138023 w 169972"/>
                <a:gd name="connsiteY154" fmla="*/ 75331 h 169175"/>
                <a:gd name="connsiteX155" fmla="*/ 145052 w 169972"/>
                <a:gd name="connsiteY155" fmla="*/ 67032 h 169175"/>
                <a:gd name="connsiteX156" fmla="*/ 145691 w 169972"/>
                <a:gd name="connsiteY156" fmla="*/ 67670 h 169175"/>
                <a:gd name="connsiteX157" fmla="*/ 145691 w 169972"/>
                <a:gd name="connsiteY157" fmla="*/ 67670 h 169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</a:cxnLst>
              <a:rect l="l" t="t" r="r" b="b"/>
              <a:pathLst>
                <a:path w="169972" h="169175">
                  <a:moveTo>
                    <a:pt x="136745" y="8938"/>
                  </a:moveTo>
                  <a:cubicBezTo>
                    <a:pt x="136745" y="12768"/>
                    <a:pt x="134189" y="15322"/>
                    <a:pt x="130355" y="15322"/>
                  </a:cubicBezTo>
                  <a:cubicBezTo>
                    <a:pt x="126521" y="15322"/>
                    <a:pt x="123965" y="12768"/>
                    <a:pt x="123965" y="8938"/>
                  </a:cubicBezTo>
                  <a:lnTo>
                    <a:pt x="123965" y="0"/>
                  </a:lnTo>
                  <a:lnTo>
                    <a:pt x="45369" y="0"/>
                  </a:lnTo>
                  <a:lnTo>
                    <a:pt x="45369" y="8938"/>
                  </a:lnTo>
                  <a:cubicBezTo>
                    <a:pt x="45369" y="12768"/>
                    <a:pt x="42813" y="15322"/>
                    <a:pt x="38979" y="15322"/>
                  </a:cubicBezTo>
                  <a:cubicBezTo>
                    <a:pt x="35145" y="15322"/>
                    <a:pt x="32589" y="12768"/>
                    <a:pt x="32589" y="8938"/>
                  </a:cubicBezTo>
                  <a:lnTo>
                    <a:pt x="32589" y="0"/>
                  </a:lnTo>
                  <a:lnTo>
                    <a:pt x="0" y="0"/>
                  </a:lnTo>
                  <a:lnTo>
                    <a:pt x="0" y="169176"/>
                  </a:lnTo>
                  <a:lnTo>
                    <a:pt x="169973" y="169176"/>
                  </a:lnTo>
                  <a:lnTo>
                    <a:pt x="169973" y="0"/>
                  </a:lnTo>
                  <a:lnTo>
                    <a:pt x="137384" y="0"/>
                  </a:lnTo>
                  <a:lnTo>
                    <a:pt x="137384" y="8938"/>
                  </a:lnTo>
                  <a:close/>
                  <a:moveTo>
                    <a:pt x="23004" y="144278"/>
                  </a:moveTo>
                  <a:cubicBezTo>
                    <a:pt x="18531" y="144278"/>
                    <a:pt x="15336" y="141086"/>
                    <a:pt x="15336" y="136617"/>
                  </a:cubicBezTo>
                  <a:cubicBezTo>
                    <a:pt x="15336" y="132149"/>
                    <a:pt x="18531" y="128957"/>
                    <a:pt x="23004" y="128957"/>
                  </a:cubicBezTo>
                  <a:cubicBezTo>
                    <a:pt x="27477" y="128957"/>
                    <a:pt x="30672" y="132149"/>
                    <a:pt x="30672" y="136617"/>
                  </a:cubicBezTo>
                  <a:lnTo>
                    <a:pt x="30672" y="136617"/>
                  </a:lnTo>
                  <a:cubicBezTo>
                    <a:pt x="30672" y="140448"/>
                    <a:pt x="27477" y="144278"/>
                    <a:pt x="23004" y="144278"/>
                  </a:cubicBezTo>
                  <a:lnTo>
                    <a:pt x="23004" y="144278"/>
                  </a:lnTo>
                  <a:lnTo>
                    <a:pt x="23004" y="144278"/>
                  </a:lnTo>
                  <a:close/>
                  <a:moveTo>
                    <a:pt x="23004" y="113635"/>
                  </a:moveTo>
                  <a:cubicBezTo>
                    <a:pt x="18531" y="113635"/>
                    <a:pt x="15336" y="110443"/>
                    <a:pt x="15336" y="105974"/>
                  </a:cubicBezTo>
                  <a:cubicBezTo>
                    <a:pt x="15336" y="101505"/>
                    <a:pt x="18531" y="98313"/>
                    <a:pt x="23004" y="98313"/>
                  </a:cubicBezTo>
                  <a:cubicBezTo>
                    <a:pt x="27477" y="98313"/>
                    <a:pt x="30672" y="101505"/>
                    <a:pt x="30672" y="105974"/>
                  </a:cubicBezTo>
                  <a:cubicBezTo>
                    <a:pt x="30672" y="105974"/>
                    <a:pt x="30672" y="105974"/>
                    <a:pt x="30672" y="105974"/>
                  </a:cubicBezTo>
                  <a:cubicBezTo>
                    <a:pt x="30672" y="109805"/>
                    <a:pt x="27477" y="113635"/>
                    <a:pt x="23004" y="113635"/>
                  </a:cubicBezTo>
                  <a:lnTo>
                    <a:pt x="23004" y="113635"/>
                  </a:lnTo>
                  <a:close/>
                  <a:moveTo>
                    <a:pt x="23004" y="82992"/>
                  </a:moveTo>
                  <a:cubicBezTo>
                    <a:pt x="18531" y="82992"/>
                    <a:pt x="15336" y="79800"/>
                    <a:pt x="15336" y="75331"/>
                  </a:cubicBezTo>
                  <a:cubicBezTo>
                    <a:pt x="15336" y="70862"/>
                    <a:pt x="18531" y="67670"/>
                    <a:pt x="23004" y="67670"/>
                  </a:cubicBezTo>
                  <a:cubicBezTo>
                    <a:pt x="27477" y="67670"/>
                    <a:pt x="30672" y="70862"/>
                    <a:pt x="30672" y="75331"/>
                  </a:cubicBezTo>
                  <a:lnTo>
                    <a:pt x="30672" y="75331"/>
                  </a:lnTo>
                  <a:cubicBezTo>
                    <a:pt x="30672" y="79162"/>
                    <a:pt x="27477" y="82992"/>
                    <a:pt x="23004" y="82992"/>
                  </a:cubicBezTo>
                  <a:close/>
                  <a:moveTo>
                    <a:pt x="23004" y="52349"/>
                  </a:moveTo>
                  <a:cubicBezTo>
                    <a:pt x="18531" y="52349"/>
                    <a:pt x="15336" y="49157"/>
                    <a:pt x="15336" y="44688"/>
                  </a:cubicBezTo>
                  <a:cubicBezTo>
                    <a:pt x="15336" y="40219"/>
                    <a:pt x="18531" y="37027"/>
                    <a:pt x="23004" y="37027"/>
                  </a:cubicBezTo>
                  <a:cubicBezTo>
                    <a:pt x="27477" y="37027"/>
                    <a:pt x="30672" y="40219"/>
                    <a:pt x="30672" y="44688"/>
                  </a:cubicBezTo>
                  <a:lnTo>
                    <a:pt x="30672" y="44688"/>
                  </a:lnTo>
                  <a:cubicBezTo>
                    <a:pt x="30672" y="48518"/>
                    <a:pt x="27477" y="52349"/>
                    <a:pt x="23004" y="52349"/>
                  </a:cubicBezTo>
                  <a:close/>
                  <a:moveTo>
                    <a:pt x="53676" y="144278"/>
                  </a:moveTo>
                  <a:cubicBezTo>
                    <a:pt x="49203" y="144278"/>
                    <a:pt x="46008" y="141086"/>
                    <a:pt x="46008" y="136617"/>
                  </a:cubicBezTo>
                  <a:cubicBezTo>
                    <a:pt x="46008" y="132149"/>
                    <a:pt x="49203" y="128957"/>
                    <a:pt x="53676" y="128957"/>
                  </a:cubicBezTo>
                  <a:cubicBezTo>
                    <a:pt x="58149" y="128957"/>
                    <a:pt x="61344" y="132149"/>
                    <a:pt x="61344" y="136617"/>
                  </a:cubicBezTo>
                  <a:lnTo>
                    <a:pt x="61344" y="136617"/>
                  </a:lnTo>
                  <a:cubicBezTo>
                    <a:pt x="61344" y="140448"/>
                    <a:pt x="58149" y="144278"/>
                    <a:pt x="53676" y="144278"/>
                  </a:cubicBezTo>
                  <a:cubicBezTo>
                    <a:pt x="53676" y="144278"/>
                    <a:pt x="53676" y="144278"/>
                    <a:pt x="53676" y="144278"/>
                  </a:cubicBezTo>
                  <a:lnTo>
                    <a:pt x="53676" y="144278"/>
                  </a:lnTo>
                  <a:close/>
                  <a:moveTo>
                    <a:pt x="53676" y="113635"/>
                  </a:moveTo>
                  <a:cubicBezTo>
                    <a:pt x="49203" y="113635"/>
                    <a:pt x="46008" y="110443"/>
                    <a:pt x="46008" y="105974"/>
                  </a:cubicBezTo>
                  <a:cubicBezTo>
                    <a:pt x="46008" y="101505"/>
                    <a:pt x="49203" y="98313"/>
                    <a:pt x="53676" y="98313"/>
                  </a:cubicBezTo>
                  <a:cubicBezTo>
                    <a:pt x="58149" y="98313"/>
                    <a:pt x="61344" y="101505"/>
                    <a:pt x="61344" y="105974"/>
                  </a:cubicBezTo>
                  <a:cubicBezTo>
                    <a:pt x="61344" y="105974"/>
                    <a:pt x="61344" y="105974"/>
                    <a:pt x="61344" y="105974"/>
                  </a:cubicBezTo>
                  <a:cubicBezTo>
                    <a:pt x="61344" y="109805"/>
                    <a:pt x="58149" y="113635"/>
                    <a:pt x="53676" y="113635"/>
                  </a:cubicBezTo>
                  <a:cubicBezTo>
                    <a:pt x="53676" y="113635"/>
                    <a:pt x="53676" y="113635"/>
                    <a:pt x="53676" y="113635"/>
                  </a:cubicBezTo>
                  <a:lnTo>
                    <a:pt x="53676" y="113635"/>
                  </a:lnTo>
                  <a:close/>
                  <a:moveTo>
                    <a:pt x="53676" y="82992"/>
                  </a:moveTo>
                  <a:cubicBezTo>
                    <a:pt x="49203" y="82992"/>
                    <a:pt x="46008" y="79800"/>
                    <a:pt x="46008" y="75331"/>
                  </a:cubicBezTo>
                  <a:cubicBezTo>
                    <a:pt x="46008" y="70862"/>
                    <a:pt x="49203" y="67670"/>
                    <a:pt x="53676" y="67670"/>
                  </a:cubicBezTo>
                  <a:cubicBezTo>
                    <a:pt x="58149" y="67670"/>
                    <a:pt x="61344" y="70862"/>
                    <a:pt x="61344" y="75331"/>
                  </a:cubicBezTo>
                  <a:lnTo>
                    <a:pt x="61344" y="75331"/>
                  </a:lnTo>
                  <a:cubicBezTo>
                    <a:pt x="61344" y="79162"/>
                    <a:pt x="58149" y="82992"/>
                    <a:pt x="53676" y="82992"/>
                  </a:cubicBezTo>
                  <a:cubicBezTo>
                    <a:pt x="53676" y="82992"/>
                    <a:pt x="53676" y="82992"/>
                    <a:pt x="53676" y="82992"/>
                  </a:cubicBezTo>
                  <a:lnTo>
                    <a:pt x="53676" y="82992"/>
                  </a:lnTo>
                  <a:close/>
                  <a:moveTo>
                    <a:pt x="53676" y="52349"/>
                  </a:moveTo>
                  <a:cubicBezTo>
                    <a:pt x="49203" y="52349"/>
                    <a:pt x="46008" y="49157"/>
                    <a:pt x="46008" y="44688"/>
                  </a:cubicBezTo>
                  <a:cubicBezTo>
                    <a:pt x="46008" y="40219"/>
                    <a:pt x="49203" y="37027"/>
                    <a:pt x="53676" y="37027"/>
                  </a:cubicBezTo>
                  <a:cubicBezTo>
                    <a:pt x="58149" y="37027"/>
                    <a:pt x="61344" y="40219"/>
                    <a:pt x="61344" y="44688"/>
                  </a:cubicBezTo>
                  <a:lnTo>
                    <a:pt x="61344" y="44688"/>
                  </a:lnTo>
                  <a:cubicBezTo>
                    <a:pt x="61344" y="48518"/>
                    <a:pt x="58149" y="52349"/>
                    <a:pt x="53676" y="52349"/>
                  </a:cubicBezTo>
                  <a:cubicBezTo>
                    <a:pt x="53676" y="52349"/>
                    <a:pt x="53676" y="52349"/>
                    <a:pt x="53676" y="52349"/>
                  </a:cubicBezTo>
                  <a:lnTo>
                    <a:pt x="53676" y="52349"/>
                  </a:lnTo>
                  <a:close/>
                  <a:moveTo>
                    <a:pt x="84348" y="144278"/>
                  </a:moveTo>
                  <a:cubicBezTo>
                    <a:pt x="79874" y="144278"/>
                    <a:pt x="76679" y="141086"/>
                    <a:pt x="76679" y="136617"/>
                  </a:cubicBezTo>
                  <a:cubicBezTo>
                    <a:pt x="76679" y="132149"/>
                    <a:pt x="79874" y="128957"/>
                    <a:pt x="84348" y="128957"/>
                  </a:cubicBezTo>
                  <a:cubicBezTo>
                    <a:pt x="88820" y="128957"/>
                    <a:pt x="92015" y="132149"/>
                    <a:pt x="92015" y="136617"/>
                  </a:cubicBezTo>
                  <a:cubicBezTo>
                    <a:pt x="92015" y="136617"/>
                    <a:pt x="92015" y="136617"/>
                    <a:pt x="92015" y="136617"/>
                  </a:cubicBezTo>
                  <a:cubicBezTo>
                    <a:pt x="92015" y="140448"/>
                    <a:pt x="88820" y="144278"/>
                    <a:pt x="84348" y="144278"/>
                  </a:cubicBezTo>
                  <a:cubicBezTo>
                    <a:pt x="84348" y="144278"/>
                    <a:pt x="84348" y="144278"/>
                    <a:pt x="84348" y="144278"/>
                  </a:cubicBezTo>
                  <a:lnTo>
                    <a:pt x="84348" y="144278"/>
                  </a:lnTo>
                  <a:close/>
                  <a:moveTo>
                    <a:pt x="84348" y="113635"/>
                  </a:moveTo>
                  <a:cubicBezTo>
                    <a:pt x="79874" y="113635"/>
                    <a:pt x="76679" y="110443"/>
                    <a:pt x="76679" y="105974"/>
                  </a:cubicBezTo>
                  <a:cubicBezTo>
                    <a:pt x="76679" y="101505"/>
                    <a:pt x="79874" y="98313"/>
                    <a:pt x="84348" y="98313"/>
                  </a:cubicBezTo>
                  <a:cubicBezTo>
                    <a:pt x="88820" y="98313"/>
                    <a:pt x="92015" y="101505"/>
                    <a:pt x="92015" y="105974"/>
                  </a:cubicBezTo>
                  <a:cubicBezTo>
                    <a:pt x="92015" y="105974"/>
                    <a:pt x="92015" y="105974"/>
                    <a:pt x="92015" y="105974"/>
                  </a:cubicBezTo>
                  <a:cubicBezTo>
                    <a:pt x="92015" y="109805"/>
                    <a:pt x="88820" y="113635"/>
                    <a:pt x="84348" y="113635"/>
                  </a:cubicBezTo>
                  <a:lnTo>
                    <a:pt x="84348" y="113635"/>
                  </a:lnTo>
                  <a:lnTo>
                    <a:pt x="84348" y="113635"/>
                  </a:lnTo>
                  <a:close/>
                  <a:moveTo>
                    <a:pt x="84348" y="82992"/>
                  </a:moveTo>
                  <a:cubicBezTo>
                    <a:pt x="79874" y="82992"/>
                    <a:pt x="76679" y="79800"/>
                    <a:pt x="76679" y="75331"/>
                  </a:cubicBezTo>
                  <a:cubicBezTo>
                    <a:pt x="76679" y="70862"/>
                    <a:pt x="79874" y="67670"/>
                    <a:pt x="84348" y="67670"/>
                  </a:cubicBezTo>
                  <a:cubicBezTo>
                    <a:pt x="88820" y="67670"/>
                    <a:pt x="92015" y="70862"/>
                    <a:pt x="92015" y="75331"/>
                  </a:cubicBezTo>
                  <a:cubicBezTo>
                    <a:pt x="92015" y="75331"/>
                    <a:pt x="92015" y="75331"/>
                    <a:pt x="92015" y="75331"/>
                  </a:cubicBezTo>
                  <a:cubicBezTo>
                    <a:pt x="92015" y="79162"/>
                    <a:pt x="88820" y="82992"/>
                    <a:pt x="84348" y="82992"/>
                  </a:cubicBezTo>
                  <a:lnTo>
                    <a:pt x="84348" y="82992"/>
                  </a:lnTo>
                  <a:close/>
                  <a:moveTo>
                    <a:pt x="84348" y="52349"/>
                  </a:moveTo>
                  <a:cubicBezTo>
                    <a:pt x="79874" y="52349"/>
                    <a:pt x="76679" y="49157"/>
                    <a:pt x="76679" y="44688"/>
                  </a:cubicBezTo>
                  <a:cubicBezTo>
                    <a:pt x="76679" y="40219"/>
                    <a:pt x="79874" y="37027"/>
                    <a:pt x="84348" y="37027"/>
                  </a:cubicBezTo>
                  <a:cubicBezTo>
                    <a:pt x="88820" y="37027"/>
                    <a:pt x="92015" y="40219"/>
                    <a:pt x="92015" y="44688"/>
                  </a:cubicBezTo>
                  <a:cubicBezTo>
                    <a:pt x="92015" y="44688"/>
                    <a:pt x="92015" y="44688"/>
                    <a:pt x="92015" y="44688"/>
                  </a:cubicBezTo>
                  <a:cubicBezTo>
                    <a:pt x="92015" y="48518"/>
                    <a:pt x="88820" y="52349"/>
                    <a:pt x="84348" y="52349"/>
                  </a:cubicBezTo>
                  <a:lnTo>
                    <a:pt x="84348" y="52349"/>
                  </a:lnTo>
                  <a:close/>
                  <a:moveTo>
                    <a:pt x="115019" y="144278"/>
                  </a:moveTo>
                  <a:cubicBezTo>
                    <a:pt x="110546" y="144278"/>
                    <a:pt x="107351" y="141086"/>
                    <a:pt x="107351" y="136617"/>
                  </a:cubicBezTo>
                  <a:cubicBezTo>
                    <a:pt x="107351" y="132149"/>
                    <a:pt x="110546" y="128957"/>
                    <a:pt x="115019" y="128957"/>
                  </a:cubicBezTo>
                  <a:cubicBezTo>
                    <a:pt x="119492" y="128957"/>
                    <a:pt x="122687" y="132149"/>
                    <a:pt x="122687" y="136617"/>
                  </a:cubicBezTo>
                  <a:cubicBezTo>
                    <a:pt x="122687" y="136617"/>
                    <a:pt x="122687" y="136617"/>
                    <a:pt x="122687" y="136617"/>
                  </a:cubicBezTo>
                  <a:cubicBezTo>
                    <a:pt x="123326" y="140448"/>
                    <a:pt x="119492" y="144278"/>
                    <a:pt x="115019" y="144278"/>
                  </a:cubicBezTo>
                  <a:cubicBezTo>
                    <a:pt x="115019" y="144278"/>
                    <a:pt x="115019" y="144278"/>
                    <a:pt x="115019" y="144278"/>
                  </a:cubicBezTo>
                  <a:lnTo>
                    <a:pt x="115019" y="144278"/>
                  </a:lnTo>
                  <a:close/>
                  <a:moveTo>
                    <a:pt x="115019" y="113635"/>
                  </a:moveTo>
                  <a:cubicBezTo>
                    <a:pt x="110546" y="113635"/>
                    <a:pt x="107351" y="110443"/>
                    <a:pt x="107351" y="105974"/>
                  </a:cubicBezTo>
                  <a:cubicBezTo>
                    <a:pt x="107351" y="101505"/>
                    <a:pt x="110546" y="98313"/>
                    <a:pt x="115019" y="98313"/>
                  </a:cubicBezTo>
                  <a:cubicBezTo>
                    <a:pt x="119492" y="98313"/>
                    <a:pt x="122687" y="101505"/>
                    <a:pt x="122687" y="105974"/>
                  </a:cubicBezTo>
                  <a:cubicBezTo>
                    <a:pt x="122687" y="105974"/>
                    <a:pt x="122687" y="105974"/>
                    <a:pt x="122687" y="105974"/>
                  </a:cubicBezTo>
                  <a:cubicBezTo>
                    <a:pt x="123326" y="109805"/>
                    <a:pt x="119492" y="113635"/>
                    <a:pt x="115019" y="113635"/>
                  </a:cubicBezTo>
                  <a:cubicBezTo>
                    <a:pt x="115019" y="113635"/>
                    <a:pt x="115019" y="113635"/>
                    <a:pt x="115019" y="113635"/>
                  </a:cubicBezTo>
                  <a:lnTo>
                    <a:pt x="115019" y="113635"/>
                  </a:lnTo>
                  <a:close/>
                  <a:moveTo>
                    <a:pt x="115019" y="82992"/>
                  </a:moveTo>
                  <a:cubicBezTo>
                    <a:pt x="110546" y="82992"/>
                    <a:pt x="107351" y="79800"/>
                    <a:pt x="107351" y="75331"/>
                  </a:cubicBezTo>
                  <a:cubicBezTo>
                    <a:pt x="107351" y="70862"/>
                    <a:pt x="110546" y="67670"/>
                    <a:pt x="115019" y="67670"/>
                  </a:cubicBezTo>
                  <a:cubicBezTo>
                    <a:pt x="119492" y="67670"/>
                    <a:pt x="122687" y="70862"/>
                    <a:pt x="122687" y="75331"/>
                  </a:cubicBezTo>
                  <a:cubicBezTo>
                    <a:pt x="122687" y="75331"/>
                    <a:pt x="122687" y="75331"/>
                    <a:pt x="122687" y="75331"/>
                  </a:cubicBezTo>
                  <a:cubicBezTo>
                    <a:pt x="123326" y="79162"/>
                    <a:pt x="119492" y="82992"/>
                    <a:pt x="115019" y="82992"/>
                  </a:cubicBezTo>
                  <a:lnTo>
                    <a:pt x="115019" y="82992"/>
                  </a:lnTo>
                  <a:close/>
                  <a:moveTo>
                    <a:pt x="115019" y="52349"/>
                  </a:moveTo>
                  <a:cubicBezTo>
                    <a:pt x="110546" y="52349"/>
                    <a:pt x="107351" y="49157"/>
                    <a:pt x="107351" y="44688"/>
                  </a:cubicBezTo>
                  <a:cubicBezTo>
                    <a:pt x="107351" y="40219"/>
                    <a:pt x="110546" y="37027"/>
                    <a:pt x="115019" y="37027"/>
                  </a:cubicBezTo>
                  <a:cubicBezTo>
                    <a:pt x="119492" y="37027"/>
                    <a:pt x="122687" y="40219"/>
                    <a:pt x="122687" y="44688"/>
                  </a:cubicBezTo>
                  <a:cubicBezTo>
                    <a:pt x="122687" y="44688"/>
                    <a:pt x="122687" y="44688"/>
                    <a:pt x="122687" y="44688"/>
                  </a:cubicBezTo>
                  <a:cubicBezTo>
                    <a:pt x="123326" y="48518"/>
                    <a:pt x="119492" y="52349"/>
                    <a:pt x="115019" y="52349"/>
                  </a:cubicBezTo>
                  <a:lnTo>
                    <a:pt x="115019" y="52349"/>
                  </a:lnTo>
                  <a:close/>
                  <a:moveTo>
                    <a:pt x="145691" y="113635"/>
                  </a:moveTo>
                  <a:cubicBezTo>
                    <a:pt x="141218" y="113635"/>
                    <a:pt x="138023" y="110443"/>
                    <a:pt x="138023" y="105974"/>
                  </a:cubicBezTo>
                  <a:cubicBezTo>
                    <a:pt x="138023" y="101505"/>
                    <a:pt x="141218" y="98313"/>
                    <a:pt x="145691" y="98313"/>
                  </a:cubicBezTo>
                  <a:cubicBezTo>
                    <a:pt x="150164" y="98313"/>
                    <a:pt x="153358" y="101505"/>
                    <a:pt x="153358" y="105974"/>
                  </a:cubicBezTo>
                  <a:cubicBezTo>
                    <a:pt x="153358" y="105974"/>
                    <a:pt x="153358" y="105974"/>
                    <a:pt x="153358" y="105974"/>
                  </a:cubicBezTo>
                  <a:cubicBezTo>
                    <a:pt x="153998" y="109805"/>
                    <a:pt x="150164" y="113635"/>
                    <a:pt x="145691" y="113635"/>
                  </a:cubicBezTo>
                  <a:cubicBezTo>
                    <a:pt x="145691" y="113635"/>
                    <a:pt x="145691" y="113635"/>
                    <a:pt x="145691" y="113635"/>
                  </a:cubicBezTo>
                  <a:lnTo>
                    <a:pt x="145691" y="113635"/>
                  </a:lnTo>
                  <a:close/>
                  <a:moveTo>
                    <a:pt x="145691" y="37027"/>
                  </a:moveTo>
                  <a:cubicBezTo>
                    <a:pt x="150164" y="37027"/>
                    <a:pt x="153358" y="40219"/>
                    <a:pt x="153358" y="44688"/>
                  </a:cubicBezTo>
                  <a:cubicBezTo>
                    <a:pt x="153358" y="49157"/>
                    <a:pt x="150164" y="52349"/>
                    <a:pt x="145691" y="52349"/>
                  </a:cubicBezTo>
                  <a:cubicBezTo>
                    <a:pt x="141218" y="52349"/>
                    <a:pt x="138023" y="49157"/>
                    <a:pt x="138023" y="44688"/>
                  </a:cubicBezTo>
                  <a:cubicBezTo>
                    <a:pt x="138023" y="44688"/>
                    <a:pt x="138023" y="44688"/>
                    <a:pt x="138023" y="44688"/>
                  </a:cubicBezTo>
                  <a:cubicBezTo>
                    <a:pt x="138023" y="40219"/>
                    <a:pt x="141218" y="37027"/>
                    <a:pt x="145691" y="37027"/>
                  </a:cubicBezTo>
                  <a:cubicBezTo>
                    <a:pt x="145691" y="36389"/>
                    <a:pt x="145691" y="36389"/>
                    <a:pt x="145691" y="37027"/>
                  </a:cubicBezTo>
                  <a:lnTo>
                    <a:pt x="145691" y="37027"/>
                  </a:lnTo>
                  <a:close/>
                  <a:moveTo>
                    <a:pt x="145691" y="67670"/>
                  </a:moveTo>
                  <a:cubicBezTo>
                    <a:pt x="150164" y="67670"/>
                    <a:pt x="153358" y="70862"/>
                    <a:pt x="153358" y="75331"/>
                  </a:cubicBezTo>
                  <a:cubicBezTo>
                    <a:pt x="153358" y="79800"/>
                    <a:pt x="150164" y="82992"/>
                    <a:pt x="145691" y="82992"/>
                  </a:cubicBezTo>
                  <a:cubicBezTo>
                    <a:pt x="141218" y="82992"/>
                    <a:pt x="138023" y="79800"/>
                    <a:pt x="138023" y="75331"/>
                  </a:cubicBezTo>
                  <a:cubicBezTo>
                    <a:pt x="138023" y="75331"/>
                    <a:pt x="138023" y="75331"/>
                    <a:pt x="138023" y="75331"/>
                  </a:cubicBezTo>
                  <a:cubicBezTo>
                    <a:pt x="137384" y="70862"/>
                    <a:pt x="140579" y="67032"/>
                    <a:pt x="145052" y="67032"/>
                  </a:cubicBezTo>
                  <a:cubicBezTo>
                    <a:pt x="145691" y="67032"/>
                    <a:pt x="145691" y="67032"/>
                    <a:pt x="145691" y="67670"/>
                  </a:cubicBezTo>
                  <a:lnTo>
                    <a:pt x="145691" y="6767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Graphic 4">
              <a:extLst>
                <a:ext uri="{FF2B5EF4-FFF2-40B4-BE49-F238E27FC236}">
                  <a16:creationId xmlns:a16="http://schemas.microsoft.com/office/drawing/2014/main" id="{88A62293-AD3B-1041-B403-B9ABF30217F0}"/>
                </a:ext>
              </a:extLst>
            </p:cNvPr>
            <p:cNvSpPr/>
            <p:nvPr/>
          </p:nvSpPr>
          <p:spPr>
            <a:xfrm>
              <a:off x="7191874" y="4308712"/>
              <a:ext cx="362312" cy="361971"/>
            </a:xfrm>
            <a:custGeom>
              <a:avLst/>
              <a:gdLst>
                <a:gd name="connsiteX0" fmla="*/ 181474 w 362312"/>
                <a:gd name="connsiteY0" fmla="*/ 0 h 361971"/>
                <a:gd name="connsiteX1" fmla="*/ 0 w 362312"/>
                <a:gd name="connsiteY1" fmla="*/ 180667 h 361971"/>
                <a:gd name="connsiteX2" fmla="*/ 180836 w 362312"/>
                <a:gd name="connsiteY2" fmla="*/ 361972 h 361971"/>
                <a:gd name="connsiteX3" fmla="*/ 362309 w 362312"/>
                <a:gd name="connsiteY3" fmla="*/ 181305 h 361971"/>
                <a:gd name="connsiteX4" fmla="*/ 362309 w 362312"/>
                <a:gd name="connsiteY4" fmla="*/ 181305 h 361971"/>
                <a:gd name="connsiteX5" fmla="*/ 181474 w 362312"/>
                <a:gd name="connsiteY5" fmla="*/ 0 h 361971"/>
                <a:gd name="connsiteX6" fmla="*/ 279240 w 362312"/>
                <a:gd name="connsiteY6" fmla="*/ 279618 h 361971"/>
                <a:gd name="connsiteX7" fmla="*/ 272850 w 362312"/>
                <a:gd name="connsiteY7" fmla="*/ 286002 h 361971"/>
                <a:gd name="connsiteX8" fmla="*/ 90098 w 362312"/>
                <a:gd name="connsiteY8" fmla="*/ 286002 h 361971"/>
                <a:gd name="connsiteX9" fmla="*/ 83708 w 362312"/>
                <a:gd name="connsiteY9" fmla="*/ 279618 h 361971"/>
                <a:gd name="connsiteX10" fmla="*/ 83708 w 362312"/>
                <a:gd name="connsiteY10" fmla="*/ 97675 h 361971"/>
                <a:gd name="connsiteX11" fmla="*/ 90098 w 362312"/>
                <a:gd name="connsiteY11" fmla="*/ 91291 h 361971"/>
                <a:gd name="connsiteX12" fmla="*/ 129076 w 362312"/>
                <a:gd name="connsiteY12" fmla="*/ 91291 h 361971"/>
                <a:gd name="connsiteX13" fmla="*/ 129076 w 362312"/>
                <a:gd name="connsiteY13" fmla="*/ 82354 h 361971"/>
                <a:gd name="connsiteX14" fmla="*/ 135466 w 362312"/>
                <a:gd name="connsiteY14" fmla="*/ 75970 h 361971"/>
                <a:gd name="connsiteX15" fmla="*/ 141856 w 362312"/>
                <a:gd name="connsiteY15" fmla="*/ 82354 h 361971"/>
                <a:gd name="connsiteX16" fmla="*/ 141856 w 362312"/>
                <a:gd name="connsiteY16" fmla="*/ 91291 h 361971"/>
                <a:gd name="connsiteX17" fmla="*/ 220453 w 362312"/>
                <a:gd name="connsiteY17" fmla="*/ 91291 h 361971"/>
                <a:gd name="connsiteX18" fmla="*/ 220453 w 362312"/>
                <a:gd name="connsiteY18" fmla="*/ 82354 h 361971"/>
                <a:gd name="connsiteX19" fmla="*/ 226843 w 362312"/>
                <a:gd name="connsiteY19" fmla="*/ 75970 h 361971"/>
                <a:gd name="connsiteX20" fmla="*/ 233233 w 362312"/>
                <a:gd name="connsiteY20" fmla="*/ 82354 h 361971"/>
                <a:gd name="connsiteX21" fmla="*/ 233233 w 362312"/>
                <a:gd name="connsiteY21" fmla="*/ 91291 h 361971"/>
                <a:gd name="connsiteX22" fmla="*/ 272211 w 362312"/>
                <a:gd name="connsiteY22" fmla="*/ 91291 h 361971"/>
                <a:gd name="connsiteX23" fmla="*/ 278601 w 362312"/>
                <a:gd name="connsiteY23" fmla="*/ 97675 h 361971"/>
                <a:gd name="connsiteX24" fmla="*/ 278601 w 362312"/>
                <a:gd name="connsiteY24" fmla="*/ 279618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62312" h="361971">
                  <a:moveTo>
                    <a:pt x="181474" y="0"/>
                  </a:moveTo>
                  <a:cubicBezTo>
                    <a:pt x="81152" y="0"/>
                    <a:pt x="0" y="81077"/>
                    <a:pt x="0" y="180667"/>
                  </a:cubicBezTo>
                  <a:cubicBezTo>
                    <a:pt x="0" y="280895"/>
                    <a:pt x="81152" y="361972"/>
                    <a:pt x="180836" y="361972"/>
                  </a:cubicBezTo>
                  <a:cubicBezTo>
                    <a:pt x="281157" y="361972"/>
                    <a:pt x="362309" y="280895"/>
                    <a:pt x="362309" y="181305"/>
                  </a:cubicBezTo>
                  <a:cubicBezTo>
                    <a:pt x="362309" y="181305"/>
                    <a:pt x="362309" y="181305"/>
                    <a:pt x="362309" y="181305"/>
                  </a:cubicBezTo>
                  <a:cubicBezTo>
                    <a:pt x="362949" y="81077"/>
                    <a:pt x="281796" y="0"/>
                    <a:pt x="181474" y="0"/>
                  </a:cubicBezTo>
                  <a:close/>
                  <a:moveTo>
                    <a:pt x="279240" y="279618"/>
                  </a:moveTo>
                  <a:cubicBezTo>
                    <a:pt x="279240" y="283449"/>
                    <a:pt x="276685" y="286002"/>
                    <a:pt x="272850" y="286002"/>
                  </a:cubicBezTo>
                  <a:lnTo>
                    <a:pt x="90098" y="286002"/>
                  </a:lnTo>
                  <a:cubicBezTo>
                    <a:pt x="86264" y="286002"/>
                    <a:pt x="83708" y="283449"/>
                    <a:pt x="83708" y="279618"/>
                  </a:cubicBezTo>
                  <a:lnTo>
                    <a:pt x="83708" y="97675"/>
                  </a:lnTo>
                  <a:cubicBezTo>
                    <a:pt x="83708" y="93845"/>
                    <a:pt x="86264" y="91291"/>
                    <a:pt x="90098" y="91291"/>
                  </a:cubicBezTo>
                  <a:lnTo>
                    <a:pt x="129076" y="91291"/>
                  </a:lnTo>
                  <a:lnTo>
                    <a:pt x="129076" y="82354"/>
                  </a:lnTo>
                  <a:cubicBezTo>
                    <a:pt x="129076" y="78523"/>
                    <a:pt x="131633" y="75970"/>
                    <a:pt x="135466" y="75970"/>
                  </a:cubicBezTo>
                  <a:cubicBezTo>
                    <a:pt x="139301" y="75970"/>
                    <a:pt x="141856" y="78523"/>
                    <a:pt x="141856" y="82354"/>
                  </a:cubicBezTo>
                  <a:lnTo>
                    <a:pt x="141856" y="91291"/>
                  </a:lnTo>
                  <a:lnTo>
                    <a:pt x="220453" y="91291"/>
                  </a:lnTo>
                  <a:lnTo>
                    <a:pt x="220453" y="82354"/>
                  </a:lnTo>
                  <a:cubicBezTo>
                    <a:pt x="220453" y="78523"/>
                    <a:pt x="223009" y="75970"/>
                    <a:pt x="226843" y="75970"/>
                  </a:cubicBezTo>
                  <a:cubicBezTo>
                    <a:pt x="230677" y="75970"/>
                    <a:pt x="233233" y="78523"/>
                    <a:pt x="233233" y="82354"/>
                  </a:cubicBezTo>
                  <a:lnTo>
                    <a:pt x="233233" y="91291"/>
                  </a:lnTo>
                  <a:lnTo>
                    <a:pt x="272211" y="91291"/>
                  </a:lnTo>
                  <a:cubicBezTo>
                    <a:pt x="276045" y="91291"/>
                    <a:pt x="278601" y="93845"/>
                    <a:pt x="278601" y="97675"/>
                  </a:cubicBezTo>
                  <a:lnTo>
                    <a:pt x="278601" y="279618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19365" y="3328237"/>
            <a:ext cx="1999661" cy="2267909"/>
          </a:xfrm>
          <a:prstGeom prst="rect">
            <a:avLst/>
          </a:prstGeom>
        </p:spPr>
      </p:pic>
      <p:sp>
        <p:nvSpPr>
          <p:cNvPr id="46" name="Rectangle 45"/>
          <p:cNvSpPr/>
          <p:nvPr/>
        </p:nvSpPr>
        <p:spPr>
          <a:xfrm>
            <a:off x="7600673" y="6033052"/>
            <a:ext cx="2398092" cy="741230"/>
          </a:xfrm>
          <a:prstGeom prst="rect">
            <a:avLst/>
          </a:prstGeom>
          <a:noFill/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aphicFrame>
        <p:nvGraphicFramePr>
          <p:cNvPr id="2" name="Object 1">
            <a:hlinkClick r:id="" action="ppaction://ole?verb=0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65967797"/>
              </p:ext>
            </p:extLst>
          </p:nvPr>
        </p:nvGraphicFramePr>
        <p:xfrm>
          <a:off x="7850371" y="6163948"/>
          <a:ext cx="914400" cy="806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" name="Presentation" showAsIcon="1" r:id="rId5" imgW="914400" imgH="806400" progId="PowerPoint.Show.12">
                  <p:embed/>
                </p:oleObj>
              </mc:Choice>
              <mc:Fallback>
                <p:oleObj name="Presentation" showAsIcon="1" r:id="rId5" imgW="914400" imgH="806400" progId="PowerPoint.Show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7850371" y="6163948"/>
                        <a:ext cx="914400" cy="8064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29900599"/>
              </p:ext>
            </p:extLst>
          </p:nvPr>
        </p:nvGraphicFramePr>
        <p:xfrm>
          <a:off x="8898311" y="6124191"/>
          <a:ext cx="914400" cy="806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1" name="Project" showAsIcon="1" r:id="rId7" imgW="914400" imgH="806400" progId="MSProject.Project.9">
                  <p:embed/>
                </p:oleObj>
              </mc:Choice>
              <mc:Fallback>
                <p:oleObj name="Project" showAsIcon="1" r:id="rId7" imgW="914400" imgH="806400" progId="MSProject.Project.9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8898311" y="6124191"/>
                        <a:ext cx="914400" cy="8064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91472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Content Placeholder 2"/>
          <p:cNvSpPr>
            <a:spLocks noGrp="1"/>
          </p:cNvSpPr>
          <p:nvPr>
            <p:ph sz="quarter" idx="10"/>
          </p:nvPr>
        </p:nvSpPr>
        <p:spPr>
          <a:xfrm>
            <a:off x="469900" y="1115315"/>
            <a:ext cx="9397113" cy="929709"/>
          </a:xfrm>
        </p:spPr>
        <p:txBody>
          <a:bodyPr/>
          <a:lstStyle/>
          <a:p>
            <a:pPr algn="just"/>
            <a:r>
              <a:rPr lang="es-VE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 segunda fase de la </a:t>
            </a:r>
            <a:r>
              <a:rPr lang="es-V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todología de implementación del </a:t>
            </a:r>
            <a:r>
              <a:rPr lang="es-VE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utsourcing</a:t>
            </a:r>
            <a:r>
              <a:rPr lang="es-V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contable con SAP Business One, es la generación del Business </a:t>
            </a:r>
            <a:r>
              <a:rPr lang="es-VE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lueprint</a:t>
            </a:r>
            <a:r>
              <a:rPr lang="es-V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 Aquí se incluyen el levantamiento de Información  (Procesos), </a:t>
            </a:r>
            <a:r>
              <a:rPr lang="es-VE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álisis, </a:t>
            </a:r>
            <a:r>
              <a:rPr lang="es-V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seño de la solución </a:t>
            </a:r>
            <a:r>
              <a:rPr lang="es-VE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1, </a:t>
            </a:r>
            <a:r>
              <a:rPr lang="es-MX" sz="1400" kern="0" dirty="0" smtClean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</a:t>
            </a:r>
            <a:r>
              <a:rPr lang="es-MX" altLang="ja-JP" sz="1400" kern="0" dirty="0" smtClean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seño </a:t>
            </a:r>
            <a:r>
              <a:rPr lang="es-MX" altLang="ja-JP" sz="1400" kern="0" dirty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l modelo funcional </a:t>
            </a:r>
            <a:r>
              <a:rPr lang="es-MX" altLang="ja-JP" sz="1400" kern="0" dirty="0" smtClean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turo.</a:t>
            </a:r>
            <a:endParaRPr lang="es-MX" altLang="ja-JP" sz="1400" kern="0" dirty="0">
              <a:solidFill>
                <a:schemeClr val="tx2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/>
            <a:endParaRPr lang="es-VE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/>
            <a:endParaRPr lang="es-VE" sz="14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/>
            <a:endParaRPr lang="es-VE" sz="1600" dirty="0" smtClean="0"/>
          </a:p>
          <a:p>
            <a:endParaRPr lang="es-VE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VE" dirty="0" smtClean="0"/>
              <a:t>Implementación SAP Business </a:t>
            </a:r>
            <a:r>
              <a:rPr lang="es-VE" dirty="0" err="1" smtClean="0"/>
              <a:t>One</a:t>
            </a:r>
            <a:endParaRPr lang="es-VE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VE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usiness </a:t>
            </a:r>
            <a:r>
              <a:rPr lang="es-VE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lueprint</a:t>
            </a:r>
            <a:endParaRPr lang="es-VE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6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67316" y="2070050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foque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etodológic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78388" y="2422880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eparación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icial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67315" y="3063181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alización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67315" y="3414412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eparación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Final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67315" y="2752510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usiness Blueprin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9" name="Rounded Rectangle 88"/>
          <p:cNvSpPr/>
          <p:nvPr/>
        </p:nvSpPr>
        <p:spPr>
          <a:xfrm>
            <a:off x="4032981" y="2770316"/>
            <a:ext cx="1789836" cy="712192"/>
          </a:xfrm>
          <a:prstGeom prst="roundRect">
            <a:avLst>
              <a:gd name="adj" fmla="val 10178"/>
            </a:avLst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91440" rIns="91440" bIns="91440" rtlCol="0" anchor="ctr">
            <a:noAutofit/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LEVANTAMIENTO DE PROCESOS</a:t>
            </a:r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90" name="Chart 89"/>
          <p:cNvGraphicFramePr/>
          <p:nvPr>
            <p:extLst>
              <p:ext uri="{D42A27DB-BD31-4B8C-83A1-F6EECF244321}">
                <p14:modId xmlns:p14="http://schemas.microsoft.com/office/powerpoint/2010/main" val="3943597012"/>
              </p:ext>
            </p:extLst>
          </p:nvPr>
        </p:nvGraphicFramePr>
        <p:xfrm>
          <a:off x="3362861" y="3606558"/>
          <a:ext cx="3038075" cy="21714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1" name="Rounded Rectangle 90"/>
          <p:cNvSpPr/>
          <p:nvPr/>
        </p:nvSpPr>
        <p:spPr>
          <a:xfrm>
            <a:off x="6017663" y="5120516"/>
            <a:ext cx="1814372" cy="683705"/>
          </a:xfrm>
          <a:prstGeom prst="roundRect">
            <a:avLst>
              <a:gd name="adj" fmla="val 10178"/>
            </a:avLst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91440" rIns="91440" bIns="91440" rtlCol="0" anchor="ctr">
            <a:noAutofit/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MINUTA DE SESIONES</a:t>
            </a:r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92" name="Group 91"/>
          <p:cNvGrpSpPr>
            <a:grpSpLocks noChangeAspect="1"/>
          </p:cNvGrpSpPr>
          <p:nvPr/>
        </p:nvGrpSpPr>
        <p:grpSpPr>
          <a:xfrm rot="4776862">
            <a:off x="5146567" y="4904902"/>
            <a:ext cx="827374" cy="827373"/>
            <a:chOff x="7606853" y="246063"/>
            <a:chExt cx="896937" cy="896937"/>
          </a:xfrm>
          <a:solidFill>
            <a:srgbClr val="72C7E7"/>
          </a:solidFill>
        </p:grpSpPr>
        <p:sp>
          <p:nvSpPr>
            <p:cNvPr id="93" name="Teardrop 92"/>
            <p:cNvSpPr/>
            <p:nvPr/>
          </p:nvSpPr>
          <p:spPr>
            <a:xfrm>
              <a:off x="7606853" y="246063"/>
              <a:ext cx="896937" cy="896937"/>
            </a:xfrm>
            <a:prstGeom prst="teardrop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sz="2000" kern="0" err="1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94" name="Oval 93"/>
            <p:cNvSpPr/>
            <p:nvPr/>
          </p:nvSpPr>
          <p:spPr>
            <a:xfrm>
              <a:off x="7634957" y="278195"/>
              <a:ext cx="822601" cy="822603"/>
            </a:xfrm>
            <a:prstGeom prst="ellipse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sz="2000" kern="0" err="1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98" name="Rounded Rectangle 97"/>
          <p:cNvSpPr/>
          <p:nvPr/>
        </p:nvSpPr>
        <p:spPr>
          <a:xfrm>
            <a:off x="2025626" y="5099216"/>
            <a:ext cx="1679426" cy="702771"/>
          </a:xfrm>
          <a:prstGeom prst="roundRect">
            <a:avLst>
              <a:gd name="adj" fmla="val 10178"/>
            </a:avLst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91440" rIns="91440" bIns="91440" rtlCol="0" anchor="ctr">
            <a:noAutofit/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BUSINESS BLUEPRINT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99" name="Teardrop 98"/>
          <p:cNvSpPr/>
          <p:nvPr/>
        </p:nvSpPr>
        <p:spPr>
          <a:xfrm rot="11086395">
            <a:off x="3722692" y="4892824"/>
            <a:ext cx="810494" cy="841289"/>
          </a:xfrm>
          <a:prstGeom prst="teardrop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2000" kern="0" err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0" name="Oval 99"/>
          <p:cNvSpPr/>
          <p:nvPr/>
        </p:nvSpPr>
        <p:spPr>
          <a:xfrm rot="11700000">
            <a:off x="3746505" y="4928638"/>
            <a:ext cx="747873" cy="753797"/>
          </a:xfrm>
          <a:prstGeom prst="ellipse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2000" kern="0" err="1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104" name="Group 103"/>
          <p:cNvGrpSpPr>
            <a:grpSpLocks noChangeAspect="1"/>
          </p:cNvGrpSpPr>
          <p:nvPr/>
        </p:nvGrpSpPr>
        <p:grpSpPr>
          <a:xfrm rot="18900000">
            <a:off x="4473702" y="3569873"/>
            <a:ext cx="839545" cy="839545"/>
            <a:chOff x="7606853" y="246063"/>
            <a:chExt cx="896937" cy="896937"/>
          </a:xfrm>
          <a:solidFill>
            <a:srgbClr val="DCDCDC"/>
          </a:solidFill>
        </p:grpSpPr>
        <p:sp>
          <p:nvSpPr>
            <p:cNvPr id="105" name="Teardrop 104"/>
            <p:cNvSpPr/>
            <p:nvPr/>
          </p:nvSpPr>
          <p:spPr>
            <a:xfrm>
              <a:off x="7606853" y="246063"/>
              <a:ext cx="896937" cy="896937"/>
            </a:xfrm>
            <a:prstGeom prst="teardrop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sz="2000" kern="0" err="1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06" name="Oval 105"/>
            <p:cNvSpPr/>
            <p:nvPr/>
          </p:nvSpPr>
          <p:spPr>
            <a:xfrm>
              <a:off x="7655991" y="289204"/>
              <a:ext cx="822597" cy="822602"/>
            </a:xfrm>
            <a:prstGeom prst="ellipse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sz="2000" kern="0" err="1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129" name="Text Placeholder 8"/>
          <p:cNvSpPr txBox="1">
            <a:spLocks/>
          </p:cNvSpPr>
          <p:nvPr/>
        </p:nvSpPr>
        <p:spPr>
          <a:xfrm>
            <a:off x="463273" y="2136736"/>
            <a:ext cx="7137399" cy="28840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64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r>
              <a:rPr lang="es-419" sz="1600" dirty="0" smtClean="0">
                <a:solidFill>
                  <a:schemeClr val="accent4"/>
                </a:solidFill>
                <a:latin typeface="Verdana"/>
              </a:rPr>
              <a:t>Business </a:t>
            </a:r>
            <a:r>
              <a:rPr lang="es-419" sz="1600" dirty="0" err="1" smtClean="0">
                <a:solidFill>
                  <a:schemeClr val="accent4"/>
                </a:solidFill>
                <a:latin typeface="Verdana"/>
              </a:rPr>
              <a:t>Blueprint</a:t>
            </a:r>
            <a:endParaRPr lang="es-419" sz="1600" dirty="0">
              <a:solidFill>
                <a:schemeClr val="accent4"/>
              </a:solidFill>
              <a:latin typeface="Verdana"/>
            </a:endParaRPr>
          </a:p>
        </p:txBody>
      </p:sp>
      <p:grpSp>
        <p:nvGrpSpPr>
          <p:cNvPr id="35" name="Graphic 4">
            <a:extLst>
              <a:ext uri="{FF2B5EF4-FFF2-40B4-BE49-F238E27FC236}">
                <a16:creationId xmlns:a16="http://schemas.microsoft.com/office/drawing/2014/main" id="{C6636743-86B7-2045-963F-12D8B0E5779B}"/>
              </a:ext>
            </a:extLst>
          </p:cNvPr>
          <p:cNvGrpSpPr>
            <a:grpSpLocks/>
          </p:cNvGrpSpPr>
          <p:nvPr/>
        </p:nvGrpSpPr>
        <p:grpSpPr>
          <a:xfrm>
            <a:off x="442800" y="2516400"/>
            <a:ext cx="824400" cy="802800"/>
            <a:chOff x="905454" y="2371173"/>
            <a:chExt cx="362309" cy="362610"/>
          </a:xfrm>
          <a:solidFill>
            <a:schemeClr val="accent4"/>
          </a:solidFill>
        </p:grpSpPr>
        <p:sp>
          <p:nvSpPr>
            <p:cNvPr id="36" name="Graphic 4">
              <a:extLst>
                <a:ext uri="{FF2B5EF4-FFF2-40B4-BE49-F238E27FC236}">
                  <a16:creationId xmlns:a16="http://schemas.microsoft.com/office/drawing/2014/main" id="{81B133A5-7433-FF49-A611-6177D5D3C8B9}"/>
                </a:ext>
              </a:extLst>
            </p:cNvPr>
            <p:cNvSpPr/>
            <p:nvPr/>
          </p:nvSpPr>
          <p:spPr>
            <a:xfrm>
              <a:off x="1115044" y="2465656"/>
              <a:ext cx="28754" cy="28727"/>
            </a:xfrm>
            <a:custGeom>
              <a:avLst/>
              <a:gdLst>
                <a:gd name="connsiteX0" fmla="*/ 0 w 28754"/>
                <a:gd name="connsiteY0" fmla="*/ 0 h 28727"/>
                <a:gd name="connsiteX1" fmla="*/ 0 w 28754"/>
                <a:gd name="connsiteY1" fmla="*/ 28728 h 28727"/>
                <a:gd name="connsiteX2" fmla="*/ 28755 w 28754"/>
                <a:gd name="connsiteY2" fmla="*/ 28728 h 28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754" h="28727">
                  <a:moveTo>
                    <a:pt x="0" y="0"/>
                  </a:moveTo>
                  <a:lnTo>
                    <a:pt x="0" y="28728"/>
                  </a:lnTo>
                  <a:lnTo>
                    <a:pt x="28755" y="28728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Graphic 4">
              <a:extLst>
                <a:ext uri="{FF2B5EF4-FFF2-40B4-BE49-F238E27FC236}">
                  <a16:creationId xmlns:a16="http://schemas.microsoft.com/office/drawing/2014/main" id="{905E2965-1598-894F-A474-9EC9CD2CA725}"/>
                </a:ext>
              </a:extLst>
            </p:cNvPr>
            <p:cNvSpPr/>
            <p:nvPr/>
          </p:nvSpPr>
          <p:spPr>
            <a:xfrm>
              <a:off x="1020472" y="2456080"/>
              <a:ext cx="132910" cy="191519"/>
            </a:xfrm>
            <a:custGeom>
              <a:avLst/>
              <a:gdLst>
                <a:gd name="connsiteX0" fmla="*/ 88181 w 132910"/>
                <a:gd name="connsiteY0" fmla="*/ 51072 h 191519"/>
                <a:gd name="connsiteX1" fmla="*/ 81791 w 132910"/>
                <a:gd name="connsiteY1" fmla="*/ 44688 h 191519"/>
                <a:gd name="connsiteX2" fmla="*/ 81791 w 132910"/>
                <a:gd name="connsiteY2" fmla="*/ 0 h 191519"/>
                <a:gd name="connsiteX3" fmla="*/ 0 w 132910"/>
                <a:gd name="connsiteY3" fmla="*/ 0 h 191519"/>
                <a:gd name="connsiteX4" fmla="*/ 0 w 132910"/>
                <a:gd name="connsiteY4" fmla="*/ 191519 h 191519"/>
                <a:gd name="connsiteX5" fmla="*/ 132911 w 132910"/>
                <a:gd name="connsiteY5" fmla="*/ 191519 h 191519"/>
                <a:gd name="connsiteX6" fmla="*/ 132911 w 132910"/>
                <a:gd name="connsiteY6" fmla="*/ 51072 h 191519"/>
                <a:gd name="connsiteX7" fmla="*/ 88181 w 132910"/>
                <a:gd name="connsiteY7" fmla="*/ 51072 h 191519"/>
                <a:gd name="connsiteX8" fmla="*/ 109907 w 132910"/>
                <a:gd name="connsiteY8" fmla="*/ 174921 h 191519"/>
                <a:gd name="connsiteX9" fmla="*/ 22365 w 132910"/>
                <a:gd name="connsiteY9" fmla="*/ 174921 h 191519"/>
                <a:gd name="connsiteX10" fmla="*/ 15975 w 132910"/>
                <a:gd name="connsiteY10" fmla="*/ 168537 h 191519"/>
                <a:gd name="connsiteX11" fmla="*/ 22365 w 132910"/>
                <a:gd name="connsiteY11" fmla="*/ 162153 h 191519"/>
                <a:gd name="connsiteX12" fmla="*/ 109907 w 132910"/>
                <a:gd name="connsiteY12" fmla="*/ 162153 h 191519"/>
                <a:gd name="connsiteX13" fmla="*/ 116297 w 132910"/>
                <a:gd name="connsiteY13" fmla="*/ 168537 h 191519"/>
                <a:gd name="connsiteX14" fmla="*/ 109907 w 132910"/>
                <a:gd name="connsiteY14" fmla="*/ 174921 h 191519"/>
                <a:gd name="connsiteX15" fmla="*/ 109907 w 132910"/>
                <a:gd name="connsiteY15" fmla="*/ 146193 h 191519"/>
                <a:gd name="connsiteX16" fmla="*/ 22365 w 132910"/>
                <a:gd name="connsiteY16" fmla="*/ 146193 h 191519"/>
                <a:gd name="connsiteX17" fmla="*/ 15975 w 132910"/>
                <a:gd name="connsiteY17" fmla="*/ 139809 h 191519"/>
                <a:gd name="connsiteX18" fmla="*/ 22365 w 132910"/>
                <a:gd name="connsiteY18" fmla="*/ 133425 h 191519"/>
                <a:gd name="connsiteX19" fmla="*/ 109907 w 132910"/>
                <a:gd name="connsiteY19" fmla="*/ 133425 h 191519"/>
                <a:gd name="connsiteX20" fmla="*/ 116297 w 132910"/>
                <a:gd name="connsiteY20" fmla="*/ 139809 h 191519"/>
                <a:gd name="connsiteX21" fmla="*/ 109907 w 132910"/>
                <a:gd name="connsiteY21" fmla="*/ 146193 h 191519"/>
                <a:gd name="connsiteX22" fmla="*/ 109907 w 132910"/>
                <a:gd name="connsiteY22" fmla="*/ 116827 h 191519"/>
                <a:gd name="connsiteX23" fmla="*/ 22365 w 132910"/>
                <a:gd name="connsiteY23" fmla="*/ 116827 h 191519"/>
                <a:gd name="connsiteX24" fmla="*/ 15975 w 132910"/>
                <a:gd name="connsiteY24" fmla="*/ 110443 h 191519"/>
                <a:gd name="connsiteX25" fmla="*/ 22365 w 132910"/>
                <a:gd name="connsiteY25" fmla="*/ 104059 h 191519"/>
                <a:gd name="connsiteX26" fmla="*/ 109907 w 132910"/>
                <a:gd name="connsiteY26" fmla="*/ 104059 h 191519"/>
                <a:gd name="connsiteX27" fmla="*/ 116297 w 132910"/>
                <a:gd name="connsiteY27" fmla="*/ 110443 h 191519"/>
                <a:gd name="connsiteX28" fmla="*/ 109907 w 132910"/>
                <a:gd name="connsiteY28" fmla="*/ 116827 h 191519"/>
                <a:gd name="connsiteX29" fmla="*/ 109907 w 132910"/>
                <a:gd name="connsiteY29" fmla="*/ 88099 h 191519"/>
                <a:gd name="connsiteX30" fmla="*/ 22365 w 132910"/>
                <a:gd name="connsiteY30" fmla="*/ 88099 h 191519"/>
                <a:gd name="connsiteX31" fmla="*/ 15975 w 132910"/>
                <a:gd name="connsiteY31" fmla="*/ 81715 h 191519"/>
                <a:gd name="connsiteX32" fmla="*/ 22365 w 132910"/>
                <a:gd name="connsiteY32" fmla="*/ 75331 h 191519"/>
                <a:gd name="connsiteX33" fmla="*/ 109907 w 132910"/>
                <a:gd name="connsiteY33" fmla="*/ 75331 h 191519"/>
                <a:gd name="connsiteX34" fmla="*/ 116297 w 132910"/>
                <a:gd name="connsiteY34" fmla="*/ 81715 h 191519"/>
                <a:gd name="connsiteX35" fmla="*/ 109907 w 132910"/>
                <a:gd name="connsiteY35" fmla="*/ 88099 h 191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32910" h="191519">
                  <a:moveTo>
                    <a:pt x="88181" y="51072"/>
                  </a:moveTo>
                  <a:cubicBezTo>
                    <a:pt x="84347" y="51072"/>
                    <a:pt x="81791" y="48518"/>
                    <a:pt x="81791" y="44688"/>
                  </a:cubicBezTo>
                  <a:lnTo>
                    <a:pt x="81791" y="0"/>
                  </a:lnTo>
                  <a:lnTo>
                    <a:pt x="0" y="0"/>
                  </a:lnTo>
                  <a:lnTo>
                    <a:pt x="0" y="191519"/>
                  </a:lnTo>
                  <a:lnTo>
                    <a:pt x="132911" y="191519"/>
                  </a:lnTo>
                  <a:lnTo>
                    <a:pt x="132911" y="51072"/>
                  </a:lnTo>
                  <a:lnTo>
                    <a:pt x="88181" y="51072"/>
                  </a:lnTo>
                  <a:close/>
                  <a:moveTo>
                    <a:pt x="109907" y="174921"/>
                  </a:moveTo>
                  <a:lnTo>
                    <a:pt x="22365" y="174921"/>
                  </a:lnTo>
                  <a:cubicBezTo>
                    <a:pt x="18531" y="174921"/>
                    <a:pt x="15975" y="172368"/>
                    <a:pt x="15975" y="168537"/>
                  </a:cubicBezTo>
                  <a:cubicBezTo>
                    <a:pt x="15975" y="164707"/>
                    <a:pt x="18531" y="162153"/>
                    <a:pt x="22365" y="162153"/>
                  </a:cubicBezTo>
                  <a:lnTo>
                    <a:pt x="109907" y="162153"/>
                  </a:lnTo>
                  <a:cubicBezTo>
                    <a:pt x="113741" y="162153"/>
                    <a:pt x="116297" y="164707"/>
                    <a:pt x="116297" y="168537"/>
                  </a:cubicBezTo>
                  <a:cubicBezTo>
                    <a:pt x="116297" y="172368"/>
                    <a:pt x="113102" y="174921"/>
                    <a:pt x="109907" y="174921"/>
                  </a:cubicBezTo>
                  <a:close/>
                  <a:moveTo>
                    <a:pt x="109907" y="146193"/>
                  </a:moveTo>
                  <a:lnTo>
                    <a:pt x="22365" y="146193"/>
                  </a:lnTo>
                  <a:cubicBezTo>
                    <a:pt x="18531" y="146193"/>
                    <a:pt x="15975" y="143640"/>
                    <a:pt x="15975" y="139809"/>
                  </a:cubicBezTo>
                  <a:cubicBezTo>
                    <a:pt x="15975" y="135979"/>
                    <a:pt x="18531" y="133425"/>
                    <a:pt x="22365" y="133425"/>
                  </a:cubicBezTo>
                  <a:lnTo>
                    <a:pt x="109907" y="133425"/>
                  </a:lnTo>
                  <a:cubicBezTo>
                    <a:pt x="113741" y="133425"/>
                    <a:pt x="116297" y="135979"/>
                    <a:pt x="116297" y="139809"/>
                  </a:cubicBezTo>
                  <a:cubicBezTo>
                    <a:pt x="116297" y="143640"/>
                    <a:pt x="113102" y="146193"/>
                    <a:pt x="109907" y="146193"/>
                  </a:cubicBezTo>
                  <a:close/>
                  <a:moveTo>
                    <a:pt x="109907" y="116827"/>
                  </a:moveTo>
                  <a:lnTo>
                    <a:pt x="22365" y="116827"/>
                  </a:lnTo>
                  <a:cubicBezTo>
                    <a:pt x="18531" y="116827"/>
                    <a:pt x="15975" y="114273"/>
                    <a:pt x="15975" y="110443"/>
                  </a:cubicBezTo>
                  <a:cubicBezTo>
                    <a:pt x="15975" y="106612"/>
                    <a:pt x="18531" y="104059"/>
                    <a:pt x="22365" y="104059"/>
                  </a:cubicBezTo>
                  <a:lnTo>
                    <a:pt x="109907" y="104059"/>
                  </a:lnTo>
                  <a:cubicBezTo>
                    <a:pt x="113741" y="104059"/>
                    <a:pt x="116297" y="106612"/>
                    <a:pt x="116297" y="110443"/>
                  </a:cubicBezTo>
                  <a:cubicBezTo>
                    <a:pt x="116297" y="114273"/>
                    <a:pt x="113102" y="116827"/>
                    <a:pt x="109907" y="116827"/>
                  </a:cubicBezTo>
                  <a:close/>
                  <a:moveTo>
                    <a:pt x="109907" y="88099"/>
                  </a:moveTo>
                  <a:lnTo>
                    <a:pt x="22365" y="88099"/>
                  </a:lnTo>
                  <a:cubicBezTo>
                    <a:pt x="18531" y="88099"/>
                    <a:pt x="15975" y="85545"/>
                    <a:pt x="15975" y="81715"/>
                  </a:cubicBezTo>
                  <a:cubicBezTo>
                    <a:pt x="15975" y="77884"/>
                    <a:pt x="18531" y="75331"/>
                    <a:pt x="22365" y="75331"/>
                  </a:cubicBezTo>
                  <a:lnTo>
                    <a:pt x="109907" y="75331"/>
                  </a:lnTo>
                  <a:cubicBezTo>
                    <a:pt x="113741" y="75331"/>
                    <a:pt x="116297" y="77884"/>
                    <a:pt x="116297" y="81715"/>
                  </a:cubicBezTo>
                  <a:cubicBezTo>
                    <a:pt x="116297" y="85545"/>
                    <a:pt x="113102" y="88099"/>
                    <a:pt x="109907" y="88099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Graphic 4">
              <a:extLst>
                <a:ext uri="{FF2B5EF4-FFF2-40B4-BE49-F238E27FC236}">
                  <a16:creationId xmlns:a16="http://schemas.microsoft.com/office/drawing/2014/main" id="{BEC4F04F-6DFC-5549-B86E-90E3FE2E149F}"/>
                </a:ext>
              </a:extLst>
            </p:cNvPr>
            <p:cNvSpPr/>
            <p:nvPr/>
          </p:nvSpPr>
          <p:spPr>
            <a:xfrm>
              <a:off x="905454" y="2371173"/>
              <a:ext cx="362309" cy="362610"/>
            </a:xfrm>
            <a:custGeom>
              <a:avLst/>
              <a:gdLst>
                <a:gd name="connsiteX0" fmla="*/ 180835 w 362309"/>
                <a:gd name="connsiteY0" fmla="*/ 0 h 362610"/>
                <a:gd name="connsiteX1" fmla="*/ 0 w 362309"/>
                <a:gd name="connsiteY1" fmla="*/ 181305 h 362610"/>
                <a:gd name="connsiteX2" fmla="*/ 180835 w 362309"/>
                <a:gd name="connsiteY2" fmla="*/ 362610 h 362610"/>
                <a:gd name="connsiteX3" fmla="*/ 362309 w 362309"/>
                <a:gd name="connsiteY3" fmla="*/ 181305 h 362610"/>
                <a:gd name="connsiteX4" fmla="*/ 180835 w 362309"/>
                <a:gd name="connsiteY4" fmla="*/ 0 h 362610"/>
                <a:gd name="connsiteX5" fmla="*/ 180835 w 362309"/>
                <a:gd name="connsiteY5" fmla="*/ 0 h 362610"/>
                <a:gd name="connsiteX6" fmla="*/ 260070 w 362309"/>
                <a:gd name="connsiteY6" fmla="*/ 282811 h 362610"/>
                <a:gd name="connsiteX7" fmla="*/ 253680 w 362309"/>
                <a:gd name="connsiteY7" fmla="*/ 289195 h 362610"/>
                <a:gd name="connsiteX8" fmla="*/ 107990 w 362309"/>
                <a:gd name="connsiteY8" fmla="*/ 289195 h 362610"/>
                <a:gd name="connsiteX9" fmla="*/ 101600 w 362309"/>
                <a:gd name="connsiteY9" fmla="*/ 282811 h 362610"/>
                <a:gd name="connsiteX10" fmla="*/ 101600 w 362309"/>
                <a:gd name="connsiteY10" fmla="*/ 79162 h 362610"/>
                <a:gd name="connsiteX11" fmla="*/ 107990 w 362309"/>
                <a:gd name="connsiteY11" fmla="*/ 72778 h 362610"/>
                <a:gd name="connsiteX12" fmla="*/ 202561 w 362309"/>
                <a:gd name="connsiteY12" fmla="*/ 72778 h 362610"/>
                <a:gd name="connsiteX13" fmla="*/ 205117 w 362309"/>
                <a:gd name="connsiteY13" fmla="*/ 73416 h 362610"/>
                <a:gd name="connsiteX14" fmla="*/ 207034 w 362309"/>
                <a:gd name="connsiteY14" fmla="*/ 74693 h 362610"/>
                <a:gd name="connsiteX15" fmla="*/ 258154 w 362309"/>
                <a:gd name="connsiteY15" fmla="*/ 125765 h 362610"/>
                <a:gd name="connsiteX16" fmla="*/ 260070 w 362309"/>
                <a:gd name="connsiteY16" fmla="*/ 130233 h 362610"/>
                <a:gd name="connsiteX17" fmla="*/ 260070 w 362309"/>
                <a:gd name="connsiteY17" fmla="*/ 282811 h 362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62309" h="362610">
                  <a:moveTo>
                    <a:pt x="180835" y="0"/>
                  </a:moveTo>
                  <a:cubicBezTo>
                    <a:pt x="80513" y="0"/>
                    <a:pt x="0" y="81077"/>
                    <a:pt x="0" y="181305"/>
                  </a:cubicBezTo>
                  <a:cubicBezTo>
                    <a:pt x="0" y="281534"/>
                    <a:pt x="81152" y="362610"/>
                    <a:pt x="180835" y="362610"/>
                  </a:cubicBezTo>
                  <a:cubicBezTo>
                    <a:pt x="280518" y="362610"/>
                    <a:pt x="362309" y="281534"/>
                    <a:pt x="362309" y="181305"/>
                  </a:cubicBezTo>
                  <a:cubicBezTo>
                    <a:pt x="362309" y="81077"/>
                    <a:pt x="281157" y="0"/>
                    <a:pt x="180835" y="0"/>
                  </a:cubicBezTo>
                  <a:cubicBezTo>
                    <a:pt x="180835" y="0"/>
                    <a:pt x="180835" y="0"/>
                    <a:pt x="180835" y="0"/>
                  </a:cubicBezTo>
                  <a:close/>
                  <a:moveTo>
                    <a:pt x="260070" y="282811"/>
                  </a:moveTo>
                  <a:cubicBezTo>
                    <a:pt x="260070" y="286641"/>
                    <a:pt x="257514" y="289195"/>
                    <a:pt x="253680" y="289195"/>
                  </a:cubicBezTo>
                  <a:lnTo>
                    <a:pt x="107990" y="289195"/>
                  </a:lnTo>
                  <a:cubicBezTo>
                    <a:pt x="104156" y="289195"/>
                    <a:pt x="101600" y="286641"/>
                    <a:pt x="101600" y="282811"/>
                  </a:cubicBezTo>
                  <a:lnTo>
                    <a:pt x="101600" y="79162"/>
                  </a:lnTo>
                  <a:cubicBezTo>
                    <a:pt x="101600" y="75331"/>
                    <a:pt x="104156" y="72778"/>
                    <a:pt x="107990" y="72778"/>
                  </a:cubicBezTo>
                  <a:lnTo>
                    <a:pt x="202561" y="72778"/>
                  </a:lnTo>
                  <a:cubicBezTo>
                    <a:pt x="203200" y="72778"/>
                    <a:pt x="204478" y="72778"/>
                    <a:pt x="205117" y="73416"/>
                  </a:cubicBezTo>
                  <a:cubicBezTo>
                    <a:pt x="205756" y="74054"/>
                    <a:pt x="206395" y="74054"/>
                    <a:pt x="207034" y="74693"/>
                  </a:cubicBezTo>
                  <a:lnTo>
                    <a:pt x="258154" y="125765"/>
                  </a:lnTo>
                  <a:cubicBezTo>
                    <a:pt x="259431" y="127041"/>
                    <a:pt x="260070" y="128318"/>
                    <a:pt x="260070" y="130233"/>
                  </a:cubicBezTo>
                  <a:lnTo>
                    <a:pt x="260070" y="282811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Graphic 4">
            <a:extLst>
              <a:ext uri="{FF2B5EF4-FFF2-40B4-BE49-F238E27FC236}">
                <a16:creationId xmlns:a16="http://schemas.microsoft.com/office/drawing/2014/main" id="{E0849CD7-2E2B-F940-AC1F-0E95CAE13B70}"/>
              </a:ext>
            </a:extLst>
          </p:cNvPr>
          <p:cNvGrpSpPr>
            <a:grpSpLocks noChangeAspect="1"/>
          </p:cNvGrpSpPr>
          <p:nvPr/>
        </p:nvGrpSpPr>
        <p:grpSpPr>
          <a:xfrm>
            <a:off x="5233144" y="4988233"/>
            <a:ext cx="641058" cy="640453"/>
            <a:chOff x="2559808" y="2371173"/>
            <a:chExt cx="362313" cy="361971"/>
          </a:xfrm>
          <a:solidFill>
            <a:schemeClr val="bg1"/>
          </a:solidFill>
        </p:grpSpPr>
        <p:sp>
          <p:nvSpPr>
            <p:cNvPr id="46" name="Graphic 4">
              <a:extLst>
                <a:ext uri="{FF2B5EF4-FFF2-40B4-BE49-F238E27FC236}">
                  <a16:creationId xmlns:a16="http://schemas.microsoft.com/office/drawing/2014/main" id="{3E8C0913-81CC-E941-8C6A-F9C5EACB24C8}"/>
                </a:ext>
              </a:extLst>
            </p:cNvPr>
            <p:cNvSpPr/>
            <p:nvPr/>
          </p:nvSpPr>
          <p:spPr>
            <a:xfrm>
              <a:off x="2559808" y="2371173"/>
              <a:ext cx="362313" cy="361971"/>
            </a:xfrm>
            <a:custGeom>
              <a:avLst/>
              <a:gdLst>
                <a:gd name="connsiteX0" fmla="*/ 181474 w 362313"/>
                <a:gd name="connsiteY0" fmla="*/ 0 h 361971"/>
                <a:gd name="connsiteX1" fmla="*/ 0 w 362313"/>
                <a:gd name="connsiteY1" fmla="*/ 180667 h 361971"/>
                <a:gd name="connsiteX2" fmla="*/ 180835 w 362313"/>
                <a:gd name="connsiteY2" fmla="*/ 361972 h 361971"/>
                <a:gd name="connsiteX3" fmla="*/ 362309 w 362313"/>
                <a:gd name="connsiteY3" fmla="*/ 181305 h 361971"/>
                <a:gd name="connsiteX4" fmla="*/ 362309 w 362313"/>
                <a:gd name="connsiteY4" fmla="*/ 181305 h 361971"/>
                <a:gd name="connsiteX5" fmla="*/ 181474 w 362313"/>
                <a:gd name="connsiteY5" fmla="*/ 0 h 361971"/>
                <a:gd name="connsiteX6" fmla="*/ 181474 w 362313"/>
                <a:gd name="connsiteY6" fmla="*/ 349204 h 361971"/>
                <a:gd name="connsiteX7" fmla="*/ 12780 w 362313"/>
                <a:gd name="connsiteY7" fmla="*/ 181305 h 361971"/>
                <a:gd name="connsiteX8" fmla="*/ 180835 w 362313"/>
                <a:gd name="connsiteY8" fmla="*/ 12768 h 361971"/>
                <a:gd name="connsiteX9" fmla="*/ 349529 w 362313"/>
                <a:gd name="connsiteY9" fmla="*/ 180667 h 361971"/>
                <a:gd name="connsiteX10" fmla="*/ 349529 w 362313"/>
                <a:gd name="connsiteY10" fmla="*/ 180667 h 361971"/>
                <a:gd name="connsiteX11" fmla="*/ 181474 w 362313"/>
                <a:gd name="connsiteY11" fmla="*/ 349204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2313" h="361971">
                  <a:moveTo>
                    <a:pt x="181474" y="0"/>
                  </a:moveTo>
                  <a:cubicBezTo>
                    <a:pt x="81152" y="0"/>
                    <a:pt x="0" y="81077"/>
                    <a:pt x="0" y="180667"/>
                  </a:cubicBezTo>
                  <a:cubicBezTo>
                    <a:pt x="0" y="280895"/>
                    <a:pt x="81152" y="361972"/>
                    <a:pt x="180835" y="361972"/>
                  </a:cubicBezTo>
                  <a:cubicBezTo>
                    <a:pt x="281157" y="361972"/>
                    <a:pt x="362309" y="280895"/>
                    <a:pt x="362309" y="181305"/>
                  </a:cubicBezTo>
                  <a:cubicBezTo>
                    <a:pt x="362309" y="181305"/>
                    <a:pt x="362309" y="181305"/>
                    <a:pt x="362309" y="181305"/>
                  </a:cubicBezTo>
                  <a:cubicBezTo>
                    <a:pt x="362948" y="81077"/>
                    <a:pt x="281796" y="0"/>
                    <a:pt x="181474" y="0"/>
                  </a:cubicBezTo>
                  <a:close/>
                  <a:moveTo>
                    <a:pt x="181474" y="349204"/>
                  </a:moveTo>
                  <a:cubicBezTo>
                    <a:pt x="88181" y="349204"/>
                    <a:pt x="12780" y="273873"/>
                    <a:pt x="12780" y="181305"/>
                  </a:cubicBezTo>
                  <a:cubicBezTo>
                    <a:pt x="12780" y="88099"/>
                    <a:pt x="88181" y="12768"/>
                    <a:pt x="180835" y="12768"/>
                  </a:cubicBezTo>
                  <a:cubicBezTo>
                    <a:pt x="274128" y="12768"/>
                    <a:pt x="349529" y="88099"/>
                    <a:pt x="349529" y="180667"/>
                  </a:cubicBezTo>
                  <a:cubicBezTo>
                    <a:pt x="349529" y="180667"/>
                    <a:pt x="349529" y="180667"/>
                    <a:pt x="349529" y="180667"/>
                  </a:cubicBezTo>
                  <a:cubicBezTo>
                    <a:pt x="350168" y="273873"/>
                    <a:pt x="274767" y="349204"/>
                    <a:pt x="181474" y="3492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Graphic 4">
              <a:extLst>
                <a:ext uri="{FF2B5EF4-FFF2-40B4-BE49-F238E27FC236}">
                  <a16:creationId xmlns:a16="http://schemas.microsoft.com/office/drawing/2014/main" id="{521B05A3-67A5-B940-8260-8C4469B72797}"/>
                </a:ext>
              </a:extLst>
            </p:cNvPr>
            <p:cNvSpPr/>
            <p:nvPr/>
          </p:nvSpPr>
          <p:spPr>
            <a:xfrm>
              <a:off x="2709972" y="2639939"/>
              <a:ext cx="124603" cy="12767"/>
            </a:xfrm>
            <a:custGeom>
              <a:avLst/>
              <a:gdLst>
                <a:gd name="connsiteX0" fmla="*/ 118853 w 124603"/>
                <a:gd name="connsiteY0" fmla="*/ 0 h 12767"/>
                <a:gd name="connsiteX1" fmla="*/ 6390 w 124603"/>
                <a:gd name="connsiteY1" fmla="*/ 0 h 12767"/>
                <a:gd name="connsiteX2" fmla="*/ 0 w 124603"/>
                <a:gd name="connsiteY2" fmla="*/ 6384 h 12767"/>
                <a:gd name="connsiteX3" fmla="*/ 6390 w 124603"/>
                <a:gd name="connsiteY3" fmla="*/ 12768 h 12767"/>
                <a:gd name="connsiteX4" fmla="*/ 118214 w 124603"/>
                <a:gd name="connsiteY4" fmla="*/ 12768 h 12767"/>
                <a:gd name="connsiteX5" fmla="*/ 124604 w 124603"/>
                <a:gd name="connsiteY5" fmla="*/ 6384 h 12767"/>
                <a:gd name="connsiteX6" fmla="*/ 118853 w 124603"/>
                <a:gd name="connsiteY6" fmla="*/ 0 h 12767"/>
                <a:gd name="connsiteX7" fmla="*/ 118853 w 124603"/>
                <a:gd name="connsiteY7" fmla="*/ 0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603" h="12767">
                  <a:moveTo>
                    <a:pt x="118853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lnTo>
                    <a:pt x="118214" y="12768"/>
                  </a:lnTo>
                  <a:cubicBezTo>
                    <a:pt x="122048" y="12768"/>
                    <a:pt x="124604" y="10214"/>
                    <a:pt x="124604" y="6384"/>
                  </a:cubicBezTo>
                  <a:cubicBezTo>
                    <a:pt x="124604" y="2554"/>
                    <a:pt x="122687" y="0"/>
                    <a:pt x="118853" y="0"/>
                  </a:cubicBezTo>
                  <a:lnTo>
                    <a:pt x="118853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Graphic 4">
              <a:extLst>
                <a:ext uri="{FF2B5EF4-FFF2-40B4-BE49-F238E27FC236}">
                  <a16:creationId xmlns:a16="http://schemas.microsoft.com/office/drawing/2014/main" id="{E23797AD-A870-8D4B-BCBA-5D15246F83D2}"/>
                </a:ext>
              </a:extLst>
            </p:cNvPr>
            <p:cNvSpPr/>
            <p:nvPr/>
          </p:nvSpPr>
          <p:spPr>
            <a:xfrm>
              <a:off x="2709972" y="2570992"/>
              <a:ext cx="124603" cy="12767"/>
            </a:xfrm>
            <a:custGeom>
              <a:avLst/>
              <a:gdLst>
                <a:gd name="connsiteX0" fmla="*/ 118853 w 124603"/>
                <a:gd name="connsiteY0" fmla="*/ 0 h 12767"/>
                <a:gd name="connsiteX1" fmla="*/ 6390 w 124603"/>
                <a:gd name="connsiteY1" fmla="*/ 0 h 12767"/>
                <a:gd name="connsiteX2" fmla="*/ 0 w 124603"/>
                <a:gd name="connsiteY2" fmla="*/ 6384 h 12767"/>
                <a:gd name="connsiteX3" fmla="*/ 6390 w 124603"/>
                <a:gd name="connsiteY3" fmla="*/ 12768 h 12767"/>
                <a:gd name="connsiteX4" fmla="*/ 118214 w 124603"/>
                <a:gd name="connsiteY4" fmla="*/ 12768 h 12767"/>
                <a:gd name="connsiteX5" fmla="*/ 124604 w 124603"/>
                <a:gd name="connsiteY5" fmla="*/ 6384 h 12767"/>
                <a:gd name="connsiteX6" fmla="*/ 118853 w 124603"/>
                <a:gd name="connsiteY6" fmla="*/ 0 h 12767"/>
                <a:gd name="connsiteX7" fmla="*/ 118853 w 124603"/>
                <a:gd name="connsiteY7" fmla="*/ 0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603" h="12767">
                  <a:moveTo>
                    <a:pt x="118853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lnTo>
                    <a:pt x="118214" y="12768"/>
                  </a:lnTo>
                  <a:cubicBezTo>
                    <a:pt x="122048" y="12768"/>
                    <a:pt x="124604" y="10214"/>
                    <a:pt x="124604" y="6384"/>
                  </a:cubicBezTo>
                  <a:cubicBezTo>
                    <a:pt x="124604" y="2554"/>
                    <a:pt x="122687" y="0"/>
                    <a:pt x="118853" y="0"/>
                  </a:cubicBezTo>
                  <a:lnTo>
                    <a:pt x="118853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Graphic 4">
              <a:extLst>
                <a:ext uri="{FF2B5EF4-FFF2-40B4-BE49-F238E27FC236}">
                  <a16:creationId xmlns:a16="http://schemas.microsoft.com/office/drawing/2014/main" id="{465ABB25-384E-AE48-8D81-F63E1AC50F99}"/>
                </a:ext>
              </a:extLst>
            </p:cNvPr>
            <p:cNvSpPr/>
            <p:nvPr/>
          </p:nvSpPr>
          <p:spPr>
            <a:xfrm>
              <a:off x="2709972" y="2502683"/>
              <a:ext cx="124603" cy="12767"/>
            </a:xfrm>
            <a:custGeom>
              <a:avLst/>
              <a:gdLst>
                <a:gd name="connsiteX0" fmla="*/ 118853 w 124603"/>
                <a:gd name="connsiteY0" fmla="*/ 0 h 12767"/>
                <a:gd name="connsiteX1" fmla="*/ 6390 w 124603"/>
                <a:gd name="connsiteY1" fmla="*/ 0 h 12767"/>
                <a:gd name="connsiteX2" fmla="*/ 0 w 124603"/>
                <a:gd name="connsiteY2" fmla="*/ 6384 h 12767"/>
                <a:gd name="connsiteX3" fmla="*/ 6390 w 124603"/>
                <a:gd name="connsiteY3" fmla="*/ 12768 h 12767"/>
                <a:gd name="connsiteX4" fmla="*/ 118214 w 124603"/>
                <a:gd name="connsiteY4" fmla="*/ 12768 h 12767"/>
                <a:gd name="connsiteX5" fmla="*/ 124604 w 124603"/>
                <a:gd name="connsiteY5" fmla="*/ 6384 h 12767"/>
                <a:gd name="connsiteX6" fmla="*/ 118853 w 124603"/>
                <a:gd name="connsiteY6" fmla="*/ 0 h 12767"/>
                <a:gd name="connsiteX7" fmla="*/ 118853 w 124603"/>
                <a:gd name="connsiteY7" fmla="*/ 0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603" h="12767">
                  <a:moveTo>
                    <a:pt x="118853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lnTo>
                    <a:pt x="118214" y="12768"/>
                  </a:lnTo>
                  <a:cubicBezTo>
                    <a:pt x="122048" y="12768"/>
                    <a:pt x="124604" y="10214"/>
                    <a:pt x="124604" y="6384"/>
                  </a:cubicBezTo>
                  <a:cubicBezTo>
                    <a:pt x="124604" y="2554"/>
                    <a:pt x="122687" y="0"/>
                    <a:pt x="118853" y="0"/>
                  </a:cubicBezTo>
                  <a:lnTo>
                    <a:pt x="118853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Graphic 4">
              <a:extLst>
                <a:ext uri="{FF2B5EF4-FFF2-40B4-BE49-F238E27FC236}">
                  <a16:creationId xmlns:a16="http://schemas.microsoft.com/office/drawing/2014/main" id="{F2A884A1-D4CA-F742-A5E9-7FFAEED49D36}"/>
                </a:ext>
              </a:extLst>
            </p:cNvPr>
            <p:cNvSpPr/>
            <p:nvPr/>
          </p:nvSpPr>
          <p:spPr>
            <a:xfrm>
              <a:off x="2647350" y="2451611"/>
              <a:ext cx="78045" cy="63839"/>
            </a:xfrm>
            <a:custGeom>
              <a:avLst/>
              <a:gdLst>
                <a:gd name="connsiteX0" fmla="*/ 15975 w 78045"/>
                <a:gd name="connsiteY0" fmla="*/ 63840 h 63839"/>
                <a:gd name="connsiteX1" fmla="*/ 39618 w 78045"/>
                <a:gd name="connsiteY1" fmla="*/ 63840 h 63839"/>
                <a:gd name="connsiteX2" fmla="*/ 55593 w 78045"/>
                <a:gd name="connsiteY2" fmla="*/ 47880 h 63839"/>
                <a:gd name="connsiteX3" fmla="*/ 55593 w 78045"/>
                <a:gd name="connsiteY3" fmla="*/ 30005 h 63839"/>
                <a:gd name="connsiteX4" fmla="*/ 76040 w 78045"/>
                <a:gd name="connsiteY4" fmla="*/ 10853 h 63839"/>
                <a:gd name="connsiteX5" fmla="*/ 76679 w 78045"/>
                <a:gd name="connsiteY5" fmla="*/ 1915 h 63839"/>
                <a:gd name="connsiteX6" fmla="*/ 76679 w 78045"/>
                <a:gd name="connsiteY6" fmla="*/ 1915 h 63839"/>
                <a:gd name="connsiteX7" fmla="*/ 67733 w 78045"/>
                <a:gd name="connsiteY7" fmla="*/ 1915 h 63839"/>
                <a:gd name="connsiteX8" fmla="*/ 51759 w 78045"/>
                <a:gd name="connsiteY8" fmla="*/ 16598 h 63839"/>
                <a:gd name="connsiteX9" fmla="*/ 39618 w 78045"/>
                <a:gd name="connsiteY9" fmla="*/ 10853 h 63839"/>
                <a:gd name="connsiteX10" fmla="*/ 15975 w 78045"/>
                <a:gd name="connsiteY10" fmla="*/ 10853 h 63839"/>
                <a:gd name="connsiteX11" fmla="*/ 0 w 78045"/>
                <a:gd name="connsiteY11" fmla="*/ 26813 h 63839"/>
                <a:gd name="connsiteX12" fmla="*/ 0 w 78045"/>
                <a:gd name="connsiteY12" fmla="*/ 48518 h 63839"/>
                <a:gd name="connsiteX13" fmla="*/ 15975 w 78045"/>
                <a:gd name="connsiteY13" fmla="*/ 63840 h 63839"/>
                <a:gd name="connsiteX14" fmla="*/ 15975 w 78045"/>
                <a:gd name="connsiteY14" fmla="*/ 63840 h 63839"/>
                <a:gd name="connsiteX15" fmla="*/ 42813 w 78045"/>
                <a:gd name="connsiteY15" fmla="*/ 47880 h 63839"/>
                <a:gd name="connsiteX16" fmla="*/ 39618 w 78045"/>
                <a:gd name="connsiteY16" fmla="*/ 51072 h 63839"/>
                <a:gd name="connsiteX17" fmla="*/ 15975 w 78045"/>
                <a:gd name="connsiteY17" fmla="*/ 51072 h 63839"/>
                <a:gd name="connsiteX18" fmla="*/ 12780 w 78045"/>
                <a:gd name="connsiteY18" fmla="*/ 47880 h 63839"/>
                <a:gd name="connsiteX19" fmla="*/ 12780 w 78045"/>
                <a:gd name="connsiteY19" fmla="*/ 37027 h 63839"/>
                <a:gd name="connsiteX20" fmla="*/ 25560 w 78045"/>
                <a:gd name="connsiteY20" fmla="*/ 49157 h 63839"/>
                <a:gd name="connsiteX21" fmla="*/ 30033 w 78045"/>
                <a:gd name="connsiteY21" fmla="*/ 51072 h 63839"/>
                <a:gd name="connsiteX22" fmla="*/ 34506 w 78045"/>
                <a:gd name="connsiteY22" fmla="*/ 49157 h 63839"/>
                <a:gd name="connsiteX23" fmla="*/ 42174 w 78045"/>
                <a:gd name="connsiteY23" fmla="*/ 42134 h 63839"/>
                <a:gd name="connsiteX24" fmla="*/ 42174 w 78045"/>
                <a:gd name="connsiteY24" fmla="*/ 47880 h 63839"/>
                <a:gd name="connsiteX25" fmla="*/ 15975 w 78045"/>
                <a:gd name="connsiteY25" fmla="*/ 23621 h 63839"/>
                <a:gd name="connsiteX26" fmla="*/ 39618 w 78045"/>
                <a:gd name="connsiteY26" fmla="*/ 23621 h 63839"/>
                <a:gd name="connsiteX27" fmla="*/ 42174 w 78045"/>
                <a:gd name="connsiteY27" fmla="*/ 24897 h 63839"/>
                <a:gd name="connsiteX28" fmla="*/ 30672 w 78045"/>
                <a:gd name="connsiteY28" fmla="*/ 35750 h 63839"/>
                <a:gd name="connsiteX29" fmla="*/ 21087 w 78045"/>
                <a:gd name="connsiteY29" fmla="*/ 26813 h 63839"/>
                <a:gd name="connsiteX30" fmla="*/ 13419 w 78045"/>
                <a:gd name="connsiteY30" fmla="*/ 26174 h 63839"/>
                <a:gd name="connsiteX31" fmla="*/ 13419 w 78045"/>
                <a:gd name="connsiteY31" fmla="*/ 26174 h 63839"/>
                <a:gd name="connsiteX32" fmla="*/ 15975 w 78045"/>
                <a:gd name="connsiteY32" fmla="*/ 23621 h 63839"/>
                <a:gd name="connsiteX33" fmla="*/ 15975 w 78045"/>
                <a:gd name="connsiteY33" fmla="*/ 23621 h 63839"/>
                <a:gd name="connsiteX34" fmla="*/ 15975 w 78045"/>
                <a:gd name="connsiteY34" fmla="*/ 23621 h 6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78045" h="63839">
                  <a:moveTo>
                    <a:pt x="15975" y="63840"/>
                  </a:moveTo>
                  <a:lnTo>
                    <a:pt x="39618" y="63840"/>
                  </a:lnTo>
                  <a:cubicBezTo>
                    <a:pt x="48564" y="63840"/>
                    <a:pt x="55593" y="56817"/>
                    <a:pt x="55593" y="47880"/>
                  </a:cubicBezTo>
                  <a:lnTo>
                    <a:pt x="55593" y="30005"/>
                  </a:lnTo>
                  <a:lnTo>
                    <a:pt x="76040" y="10853"/>
                  </a:lnTo>
                  <a:cubicBezTo>
                    <a:pt x="78596" y="8299"/>
                    <a:pt x="78596" y="4469"/>
                    <a:pt x="76679" y="1915"/>
                  </a:cubicBezTo>
                  <a:cubicBezTo>
                    <a:pt x="76679" y="1915"/>
                    <a:pt x="76679" y="1915"/>
                    <a:pt x="76679" y="1915"/>
                  </a:cubicBezTo>
                  <a:cubicBezTo>
                    <a:pt x="74123" y="-638"/>
                    <a:pt x="70289" y="-638"/>
                    <a:pt x="67733" y="1915"/>
                  </a:cubicBezTo>
                  <a:lnTo>
                    <a:pt x="51759" y="16598"/>
                  </a:lnTo>
                  <a:cubicBezTo>
                    <a:pt x="48564" y="12768"/>
                    <a:pt x="44730" y="10853"/>
                    <a:pt x="39618" y="10853"/>
                  </a:cubicBezTo>
                  <a:lnTo>
                    <a:pt x="15975" y="10853"/>
                  </a:lnTo>
                  <a:cubicBezTo>
                    <a:pt x="7029" y="10853"/>
                    <a:pt x="0" y="17875"/>
                    <a:pt x="0" y="26813"/>
                  </a:cubicBezTo>
                  <a:lnTo>
                    <a:pt x="0" y="48518"/>
                  </a:lnTo>
                  <a:cubicBezTo>
                    <a:pt x="639" y="56817"/>
                    <a:pt x="7668" y="63840"/>
                    <a:pt x="15975" y="63840"/>
                  </a:cubicBezTo>
                  <a:lnTo>
                    <a:pt x="15975" y="63840"/>
                  </a:lnTo>
                  <a:close/>
                  <a:moveTo>
                    <a:pt x="42813" y="47880"/>
                  </a:moveTo>
                  <a:cubicBezTo>
                    <a:pt x="42813" y="49795"/>
                    <a:pt x="41535" y="51072"/>
                    <a:pt x="39618" y="51072"/>
                  </a:cubicBezTo>
                  <a:lnTo>
                    <a:pt x="15975" y="51072"/>
                  </a:lnTo>
                  <a:cubicBezTo>
                    <a:pt x="14058" y="51072"/>
                    <a:pt x="12780" y="49795"/>
                    <a:pt x="12780" y="47880"/>
                  </a:cubicBezTo>
                  <a:lnTo>
                    <a:pt x="12780" y="37027"/>
                  </a:lnTo>
                  <a:lnTo>
                    <a:pt x="25560" y="49157"/>
                  </a:lnTo>
                  <a:cubicBezTo>
                    <a:pt x="26838" y="50433"/>
                    <a:pt x="28116" y="51072"/>
                    <a:pt x="30033" y="51072"/>
                  </a:cubicBezTo>
                  <a:cubicBezTo>
                    <a:pt x="31950" y="51072"/>
                    <a:pt x="33228" y="50433"/>
                    <a:pt x="34506" y="49157"/>
                  </a:cubicBezTo>
                  <a:lnTo>
                    <a:pt x="42174" y="42134"/>
                  </a:lnTo>
                  <a:lnTo>
                    <a:pt x="42174" y="47880"/>
                  </a:lnTo>
                  <a:close/>
                  <a:moveTo>
                    <a:pt x="15975" y="23621"/>
                  </a:moveTo>
                  <a:lnTo>
                    <a:pt x="39618" y="23621"/>
                  </a:lnTo>
                  <a:cubicBezTo>
                    <a:pt x="40896" y="23621"/>
                    <a:pt x="41535" y="24259"/>
                    <a:pt x="42174" y="24897"/>
                  </a:cubicBezTo>
                  <a:lnTo>
                    <a:pt x="30672" y="35750"/>
                  </a:lnTo>
                  <a:lnTo>
                    <a:pt x="21087" y="26813"/>
                  </a:lnTo>
                  <a:cubicBezTo>
                    <a:pt x="19170" y="24897"/>
                    <a:pt x="15336" y="24897"/>
                    <a:pt x="13419" y="26174"/>
                  </a:cubicBezTo>
                  <a:lnTo>
                    <a:pt x="13419" y="26174"/>
                  </a:lnTo>
                  <a:cubicBezTo>
                    <a:pt x="13419" y="24897"/>
                    <a:pt x="14697" y="23621"/>
                    <a:pt x="15975" y="23621"/>
                  </a:cubicBezTo>
                  <a:cubicBezTo>
                    <a:pt x="15975" y="23621"/>
                    <a:pt x="15975" y="23621"/>
                    <a:pt x="15975" y="23621"/>
                  </a:cubicBezTo>
                  <a:lnTo>
                    <a:pt x="15975" y="23621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Graphic 4">
              <a:extLst>
                <a:ext uri="{FF2B5EF4-FFF2-40B4-BE49-F238E27FC236}">
                  <a16:creationId xmlns:a16="http://schemas.microsoft.com/office/drawing/2014/main" id="{2D57A288-B39D-7642-B7BF-F827B4224DFD}"/>
                </a:ext>
              </a:extLst>
            </p:cNvPr>
            <p:cNvSpPr/>
            <p:nvPr/>
          </p:nvSpPr>
          <p:spPr>
            <a:xfrm>
              <a:off x="2647350" y="2519832"/>
              <a:ext cx="78045" cy="63928"/>
            </a:xfrm>
            <a:custGeom>
              <a:avLst/>
              <a:gdLst>
                <a:gd name="connsiteX0" fmla="*/ 15975 w 78045"/>
                <a:gd name="connsiteY0" fmla="*/ 63928 h 63928"/>
                <a:gd name="connsiteX1" fmla="*/ 39618 w 78045"/>
                <a:gd name="connsiteY1" fmla="*/ 63928 h 63928"/>
                <a:gd name="connsiteX2" fmla="*/ 55593 w 78045"/>
                <a:gd name="connsiteY2" fmla="*/ 47968 h 63928"/>
                <a:gd name="connsiteX3" fmla="*/ 55593 w 78045"/>
                <a:gd name="connsiteY3" fmla="*/ 30093 h 63928"/>
                <a:gd name="connsiteX4" fmla="*/ 76040 w 78045"/>
                <a:gd name="connsiteY4" fmla="*/ 10941 h 63928"/>
                <a:gd name="connsiteX5" fmla="*/ 76679 w 78045"/>
                <a:gd name="connsiteY5" fmla="*/ 2004 h 63928"/>
                <a:gd name="connsiteX6" fmla="*/ 67733 w 78045"/>
                <a:gd name="connsiteY6" fmla="*/ 1365 h 63928"/>
                <a:gd name="connsiteX7" fmla="*/ 67733 w 78045"/>
                <a:gd name="connsiteY7" fmla="*/ 1365 h 63928"/>
                <a:gd name="connsiteX8" fmla="*/ 51759 w 78045"/>
                <a:gd name="connsiteY8" fmla="*/ 16048 h 63928"/>
                <a:gd name="connsiteX9" fmla="*/ 39618 w 78045"/>
                <a:gd name="connsiteY9" fmla="*/ 10303 h 63928"/>
                <a:gd name="connsiteX10" fmla="*/ 15975 w 78045"/>
                <a:gd name="connsiteY10" fmla="*/ 10303 h 63928"/>
                <a:gd name="connsiteX11" fmla="*/ 0 w 78045"/>
                <a:gd name="connsiteY11" fmla="*/ 26263 h 63928"/>
                <a:gd name="connsiteX12" fmla="*/ 0 w 78045"/>
                <a:gd name="connsiteY12" fmla="*/ 47968 h 63928"/>
                <a:gd name="connsiteX13" fmla="*/ 15975 w 78045"/>
                <a:gd name="connsiteY13" fmla="*/ 63928 h 63928"/>
                <a:gd name="connsiteX14" fmla="*/ 42813 w 78045"/>
                <a:gd name="connsiteY14" fmla="*/ 48607 h 63928"/>
                <a:gd name="connsiteX15" fmla="*/ 39618 w 78045"/>
                <a:gd name="connsiteY15" fmla="*/ 51799 h 63928"/>
                <a:gd name="connsiteX16" fmla="*/ 15975 w 78045"/>
                <a:gd name="connsiteY16" fmla="*/ 51799 h 63928"/>
                <a:gd name="connsiteX17" fmla="*/ 12780 w 78045"/>
                <a:gd name="connsiteY17" fmla="*/ 48607 h 63928"/>
                <a:gd name="connsiteX18" fmla="*/ 12780 w 78045"/>
                <a:gd name="connsiteY18" fmla="*/ 37754 h 63928"/>
                <a:gd name="connsiteX19" fmla="*/ 25560 w 78045"/>
                <a:gd name="connsiteY19" fmla="*/ 49883 h 63928"/>
                <a:gd name="connsiteX20" fmla="*/ 34506 w 78045"/>
                <a:gd name="connsiteY20" fmla="*/ 49883 h 63928"/>
                <a:gd name="connsiteX21" fmla="*/ 42174 w 78045"/>
                <a:gd name="connsiteY21" fmla="*/ 42861 h 63928"/>
                <a:gd name="connsiteX22" fmla="*/ 42813 w 78045"/>
                <a:gd name="connsiteY22" fmla="*/ 48607 h 63928"/>
                <a:gd name="connsiteX23" fmla="*/ 15975 w 78045"/>
                <a:gd name="connsiteY23" fmla="*/ 23709 h 63928"/>
                <a:gd name="connsiteX24" fmla="*/ 39618 w 78045"/>
                <a:gd name="connsiteY24" fmla="*/ 23709 h 63928"/>
                <a:gd name="connsiteX25" fmla="*/ 42174 w 78045"/>
                <a:gd name="connsiteY25" fmla="*/ 24986 h 63928"/>
                <a:gd name="connsiteX26" fmla="*/ 30033 w 78045"/>
                <a:gd name="connsiteY26" fmla="*/ 35839 h 63928"/>
                <a:gd name="connsiteX27" fmla="*/ 20448 w 78045"/>
                <a:gd name="connsiteY27" fmla="*/ 26901 h 63928"/>
                <a:gd name="connsiteX28" fmla="*/ 12780 w 78045"/>
                <a:gd name="connsiteY28" fmla="*/ 26263 h 63928"/>
                <a:gd name="connsiteX29" fmla="*/ 12780 w 78045"/>
                <a:gd name="connsiteY29" fmla="*/ 26263 h 63928"/>
                <a:gd name="connsiteX30" fmla="*/ 15975 w 78045"/>
                <a:gd name="connsiteY30" fmla="*/ 23709 h 63928"/>
                <a:gd name="connsiteX31" fmla="*/ 15975 w 78045"/>
                <a:gd name="connsiteY31" fmla="*/ 23709 h 63928"/>
                <a:gd name="connsiteX32" fmla="*/ 15975 w 78045"/>
                <a:gd name="connsiteY32" fmla="*/ 23709 h 63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78045" h="63928">
                  <a:moveTo>
                    <a:pt x="15975" y="63928"/>
                  </a:moveTo>
                  <a:lnTo>
                    <a:pt x="39618" y="63928"/>
                  </a:lnTo>
                  <a:cubicBezTo>
                    <a:pt x="48564" y="63928"/>
                    <a:pt x="55593" y="56906"/>
                    <a:pt x="55593" y="47968"/>
                  </a:cubicBezTo>
                  <a:lnTo>
                    <a:pt x="55593" y="30093"/>
                  </a:lnTo>
                  <a:lnTo>
                    <a:pt x="76040" y="10941"/>
                  </a:lnTo>
                  <a:cubicBezTo>
                    <a:pt x="78596" y="8388"/>
                    <a:pt x="78596" y="4557"/>
                    <a:pt x="76679" y="2004"/>
                  </a:cubicBezTo>
                  <a:cubicBezTo>
                    <a:pt x="74123" y="-550"/>
                    <a:pt x="70289" y="-550"/>
                    <a:pt x="67733" y="1365"/>
                  </a:cubicBezTo>
                  <a:lnTo>
                    <a:pt x="67733" y="1365"/>
                  </a:lnTo>
                  <a:lnTo>
                    <a:pt x="51759" y="16048"/>
                  </a:lnTo>
                  <a:cubicBezTo>
                    <a:pt x="48564" y="12218"/>
                    <a:pt x="44730" y="10303"/>
                    <a:pt x="39618" y="10303"/>
                  </a:cubicBezTo>
                  <a:lnTo>
                    <a:pt x="15975" y="10303"/>
                  </a:lnTo>
                  <a:cubicBezTo>
                    <a:pt x="7029" y="10303"/>
                    <a:pt x="0" y="17325"/>
                    <a:pt x="0" y="26263"/>
                  </a:cubicBezTo>
                  <a:lnTo>
                    <a:pt x="0" y="47968"/>
                  </a:lnTo>
                  <a:cubicBezTo>
                    <a:pt x="639" y="56906"/>
                    <a:pt x="7668" y="63928"/>
                    <a:pt x="15975" y="63928"/>
                  </a:cubicBezTo>
                  <a:close/>
                  <a:moveTo>
                    <a:pt x="42813" y="48607"/>
                  </a:moveTo>
                  <a:cubicBezTo>
                    <a:pt x="42813" y="50522"/>
                    <a:pt x="41535" y="51799"/>
                    <a:pt x="39618" y="51799"/>
                  </a:cubicBezTo>
                  <a:lnTo>
                    <a:pt x="15975" y="51799"/>
                  </a:lnTo>
                  <a:cubicBezTo>
                    <a:pt x="14058" y="51799"/>
                    <a:pt x="12780" y="50522"/>
                    <a:pt x="12780" y="48607"/>
                  </a:cubicBezTo>
                  <a:lnTo>
                    <a:pt x="12780" y="37754"/>
                  </a:lnTo>
                  <a:lnTo>
                    <a:pt x="25560" y="49883"/>
                  </a:lnTo>
                  <a:cubicBezTo>
                    <a:pt x="28116" y="51799"/>
                    <a:pt x="31950" y="51799"/>
                    <a:pt x="34506" y="49883"/>
                  </a:cubicBezTo>
                  <a:lnTo>
                    <a:pt x="42174" y="42861"/>
                  </a:lnTo>
                  <a:lnTo>
                    <a:pt x="42813" y="48607"/>
                  </a:lnTo>
                  <a:close/>
                  <a:moveTo>
                    <a:pt x="15975" y="23709"/>
                  </a:moveTo>
                  <a:lnTo>
                    <a:pt x="39618" y="23709"/>
                  </a:lnTo>
                  <a:cubicBezTo>
                    <a:pt x="40896" y="23709"/>
                    <a:pt x="41535" y="24347"/>
                    <a:pt x="42174" y="24986"/>
                  </a:cubicBezTo>
                  <a:lnTo>
                    <a:pt x="30033" y="35839"/>
                  </a:lnTo>
                  <a:lnTo>
                    <a:pt x="20448" y="26901"/>
                  </a:lnTo>
                  <a:cubicBezTo>
                    <a:pt x="18531" y="24986"/>
                    <a:pt x="14697" y="24986"/>
                    <a:pt x="12780" y="26263"/>
                  </a:cubicBezTo>
                  <a:lnTo>
                    <a:pt x="12780" y="26263"/>
                  </a:lnTo>
                  <a:cubicBezTo>
                    <a:pt x="12780" y="25624"/>
                    <a:pt x="14058" y="23709"/>
                    <a:pt x="15975" y="23709"/>
                  </a:cubicBezTo>
                  <a:cubicBezTo>
                    <a:pt x="15975" y="23709"/>
                    <a:pt x="15975" y="23709"/>
                    <a:pt x="15975" y="23709"/>
                  </a:cubicBezTo>
                  <a:lnTo>
                    <a:pt x="15975" y="23709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Graphic 4">
              <a:extLst>
                <a:ext uri="{FF2B5EF4-FFF2-40B4-BE49-F238E27FC236}">
                  <a16:creationId xmlns:a16="http://schemas.microsoft.com/office/drawing/2014/main" id="{D9CADEC1-E852-9349-975E-131498F5192B}"/>
                </a:ext>
              </a:extLst>
            </p:cNvPr>
            <p:cNvSpPr/>
            <p:nvPr/>
          </p:nvSpPr>
          <p:spPr>
            <a:xfrm>
              <a:off x="2647350" y="2588779"/>
              <a:ext cx="78045" cy="63928"/>
            </a:xfrm>
            <a:custGeom>
              <a:avLst/>
              <a:gdLst>
                <a:gd name="connsiteX0" fmla="*/ 76040 w 78045"/>
                <a:gd name="connsiteY0" fmla="*/ 10941 h 63928"/>
                <a:gd name="connsiteX1" fmla="*/ 76679 w 78045"/>
                <a:gd name="connsiteY1" fmla="*/ 2004 h 63928"/>
                <a:gd name="connsiteX2" fmla="*/ 67733 w 78045"/>
                <a:gd name="connsiteY2" fmla="*/ 1365 h 63928"/>
                <a:gd name="connsiteX3" fmla="*/ 67733 w 78045"/>
                <a:gd name="connsiteY3" fmla="*/ 1365 h 63928"/>
                <a:gd name="connsiteX4" fmla="*/ 51759 w 78045"/>
                <a:gd name="connsiteY4" fmla="*/ 16048 h 63928"/>
                <a:gd name="connsiteX5" fmla="*/ 39618 w 78045"/>
                <a:gd name="connsiteY5" fmla="*/ 10303 h 63928"/>
                <a:gd name="connsiteX6" fmla="*/ 15975 w 78045"/>
                <a:gd name="connsiteY6" fmla="*/ 10303 h 63928"/>
                <a:gd name="connsiteX7" fmla="*/ 0 w 78045"/>
                <a:gd name="connsiteY7" fmla="*/ 26263 h 63928"/>
                <a:gd name="connsiteX8" fmla="*/ 0 w 78045"/>
                <a:gd name="connsiteY8" fmla="*/ 47968 h 63928"/>
                <a:gd name="connsiteX9" fmla="*/ 15975 w 78045"/>
                <a:gd name="connsiteY9" fmla="*/ 63928 h 63928"/>
                <a:gd name="connsiteX10" fmla="*/ 39618 w 78045"/>
                <a:gd name="connsiteY10" fmla="*/ 63928 h 63928"/>
                <a:gd name="connsiteX11" fmla="*/ 55593 w 78045"/>
                <a:gd name="connsiteY11" fmla="*/ 47968 h 63928"/>
                <a:gd name="connsiteX12" fmla="*/ 55593 w 78045"/>
                <a:gd name="connsiteY12" fmla="*/ 30093 h 63928"/>
                <a:gd name="connsiteX13" fmla="*/ 76040 w 78045"/>
                <a:gd name="connsiteY13" fmla="*/ 10941 h 63928"/>
                <a:gd name="connsiteX14" fmla="*/ 15975 w 78045"/>
                <a:gd name="connsiteY14" fmla="*/ 23071 h 63928"/>
                <a:gd name="connsiteX15" fmla="*/ 39618 w 78045"/>
                <a:gd name="connsiteY15" fmla="*/ 23071 h 63928"/>
                <a:gd name="connsiteX16" fmla="*/ 42174 w 78045"/>
                <a:gd name="connsiteY16" fmla="*/ 24348 h 63928"/>
                <a:gd name="connsiteX17" fmla="*/ 30033 w 78045"/>
                <a:gd name="connsiteY17" fmla="*/ 35200 h 63928"/>
                <a:gd name="connsiteX18" fmla="*/ 20448 w 78045"/>
                <a:gd name="connsiteY18" fmla="*/ 26263 h 63928"/>
                <a:gd name="connsiteX19" fmla="*/ 12780 w 78045"/>
                <a:gd name="connsiteY19" fmla="*/ 25624 h 63928"/>
                <a:gd name="connsiteX20" fmla="*/ 12780 w 78045"/>
                <a:gd name="connsiteY20" fmla="*/ 25624 h 63928"/>
                <a:gd name="connsiteX21" fmla="*/ 15975 w 78045"/>
                <a:gd name="connsiteY21" fmla="*/ 23071 h 63928"/>
                <a:gd name="connsiteX22" fmla="*/ 15975 w 78045"/>
                <a:gd name="connsiteY22" fmla="*/ 23071 h 63928"/>
                <a:gd name="connsiteX23" fmla="*/ 42813 w 78045"/>
                <a:gd name="connsiteY23" fmla="*/ 47968 h 63928"/>
                <a:gd name="connsiteX24" fmla="*/ 39618 w 78045"/>
                <a:gd name="connsiteY24" fmla="*/ 51160 h 63928"/>
                <a:gd name="connsiteX25" fmla="*/ 15975 w 78045"/>
                <a:gd name="connsiteY25" fmla="*/ 51160 h 63928"/>
                <a:gd name="connsiteX26" fmla="*/ 12780 w 78045"/>
                <a:gd name="connsiteY26" fmla="*/ 47968 h 63928"/>
                <a:gd name="connsiteX27" fmla="*/ 12780 w 78045"/>
                <a:gd name="connsiteY27" fmla="*/ 37116 h 63928"/>
                <a:gd name="connsiteX28" fmla="*/ 25560 w 78045"/>
                <a:gd name="connsiteY28" fmla="*/ 49245 h 63928"/>
                <a:gd name="connsiteX29" fmla="*/ 34506 w 78045"/>
                <a:gd name="connsiteY29" fmla="*/ 49245 h 63928"/>
                <a:gd name="connsiteX30" fmla="*/ 42174 w 78045"/>
                <a:gd name="connsiteY30" fmla="*/ 42223 h 63928"/>
                <a:gd name="connsiteX31" fmla="*/ 42813 w 78045"/>
                <a:gd name="connsiteY31" fmla="*/ 47968 h 63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78045" h="63928">
                  <a:moveTo>
                    <a:pt x="76040" y="10941"/>
                  </a:moveTo>
                  <a:cubicBezTo>
                    <a:pt x="78596" y="8388"/>
                    <a:pt x="78596" y="4557"/>
                    <a:pt x="76679" y="2004"/>
                  </a:cubicBezTo>
                  <a:cubicBezTo>
                    <a:pt x="74123" y="-550"/>
                    <a:pt x="70289" y="-550"/>
                    <a:pt x="67733" y="1365"/>
                  </a:cubicBezTo>
                  <a:lnTo>
                    <a:pt x="67733" y="1365"/>
                  </a:lnTo>
                  <a:lnTo>
                    <a:pt x="51759" y="16048"/>
                  </a:lnTo>
                  <a:cubicBezTo>
                    <a:pt x="48564" y="12218"/>
                    <a:pt x="44730" y="10303"/>
                    <a:pt x="39618" y="10303"/>
                  </a:cubicBezTo>
                  <a:lnTo>
                    <a:pt x="15975" y="10303"/>
                  </a:lnTo>
                  <a:cubicBezTo>
                    <a:pt x="7029" y="10303"/>
                    <a:pt x="0" y="17325"/>
                    <a:pt x="0" y="26263"/>
                  </a:cubicBezTo>
                  <a:lnTo>
                    <a:pt x="0" y="47968"/>
                  </a:lnTo>
                  <a:cubicBezTo>
                    <a:pt x="0" y="56906"/>
                    <a:pt x="7029" y="63928"/>
                    <a:pt x="15975" y="63928"/>
                  </a:cubicBezTo>
                  <a:lnTo>
                    <a:pt x="39618" y="63928"/>
                  </a:lnTo>
                  <a:cubicBezTo>
                    <a:pt x="48564" y="63928"/>
                    <a:pt x="55593" y="56906"/>
                    <a:pt x="55593" y="47968"/>
                  </a:cubicBezTo>
                  <a:lnTo>
                    <a:pt x="55593" y="30093"/>
                  </a:lnTo>
                  <a:lnTo>
                    <a:pt x="76040" y="10941"/>
                  </a:lnTo>
                  <a:close/>
                  <a:moveTo>
                    <a:pt x="15975" y="23071"/>
                  </a:moveTo>
                  <a:lnTo>
                    <a:pt x="39618" y="23071"/>
                  </a:lnTo>
                  <a:cubicBezTo>
                    <a:pt x="40896" y="23071"/>
                    <a:pt x="41535" y="23709"/>
                    <a:pt x="42174" y="24348"/>
                  </a:cubicBezTo>
                  <a:lnTo>
                    <a:pt x="30033" y="35200"/>
                  </a:lnTo>
                  <a:lnTo>
                    <a:pt x="20448" y="26263"/>
                  </a:lnTo>
                  <a:cubicBezTo>
                    <a:pt x="18531" y="24348"/>
                    <a:pt x="14697" y="24348"/>
                    <a:pt x="12780" y="25624"/>
                  </a:cubicBezTo>
                  <a:lnTo>
                    <a:pt x="12780" y="25624"/>
                  </a:lnTo>
                  <a:cubicBezTo>
                    <a:pt x="12780" y="24986"/>
                    <a:pt x="14058" y="23709"/>
                    <a:pt x="15975" y="23071"/>
                  </a:cubicBezTo>
                  <a:cubicBezTo>
                    <a:pt x="15975" y="23709"/>
                    <a:pt x="15975" y="23709"/>
                    <a:pt x="15975" y="23071"/>
                  </a:cubicBezTo>
                  <a:close/>
                  <a:moveTo>
                    <a:pt x="42813" y="47968"/>
                  </a:moveTo>
                  <a:cubicBezTo>
                    <a:pt x="42813" y="49884"/>
                    <a:pt x="41535" y="51160"/>
                    <a:pt x="39618" y="51160"/>
                  </a:cubicBezTo>
                  <a:lnTo>
                    <a:pt x="15975" y="51160"/>
                  </a:lnTo>
                  <a:cubicBezTo>
                    <a:pt x="14058" y="51160"/>
                    <a:pt x="12780" y="49884"/>
                    <a:pt x="12780" y="47968"/>
                  </a:cubicBezTo>
                  <a:lnTo>
                    <a:pt x="12780" y="37116"/>
                  </a:lnTo>
                  <a:lnTo>
                    <a:pt x="25560" y="49245"/>
                  </a:lnTo>
                  <a:cubicBezTo>
                    <a:pt x="28116" y="51160"/>
                    <a:pt x="31950" y="51160"/>
                    <a:pt x="34506" y="49245"/>
                  </a:cubicBezTo>
                  <a:lnTo>
                    <a:pt x="42174" y="42223"/>
                  </a:lnTo>
                  <a:lnTo>
                    <a:pt x="42813" y="47968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3" name="Graphic 4">
            <a:extLst>
              <a:ext uri="{FF2B5EF4-FFF2-40B4-BE49-F238E27FC236}">
                <a16:creationId xmlns:a16="http://schemas.microsoft.com/office/drawing/2014/main" id="{A74B22D1-B69D-B940-A0CF-BA9E21620AF9}"/>
              </a:ext>
            </a:extLst>
          </p:cNvPr>
          <p:cNvGrpSpPr>
            <a:grpSpLocks noChangeAspect="1"/>
          </p:cNvGrpSpPr>
          <p:nvPr/>
        </p:nvGrpSpPr>
        <p:grpSpPr>
          <a:xfrm>
            <a:off x="3824232" y="5001039"/>
            <a:ext cx="607414" cy="608993"/>
            <a:chOff x="467743" y="2855717"/>
            <a:chExt cx="361670" cy="362610"/>
          </a:xfrm>
          <a:solidFill>
            <a:schemeClr val="bg1"/>
          </a:solidFill>
        </p:grpSpPr>
        <p:sp>
          <p:nvSpPr>
            <p:cNvPr id="54" name="Graphic 4">
              <a:extLst>
                <a:ext uri="{FF2B5EF4-FFF2-40B4-BE49-F238E27FC236}">
                  <a16:creationId xmlns:a16="http://schemas.microsoft.com/office/drawing/2014/main" id="{A4D536BD-6157-0B41-BD2F-CC94153E35A4}"/>
                </a:ext>
              </a:extLst>
            </p:cNvPr>
            <p:cNvSpPr/>
            <p:nvPr/>
          </p:nvSpPr>
          <p:spPr>
            <a:xfrm>
              <a:off x="467743" y="2855717"/>
              <a:ext cx="361670" cy="362610"/>
            </a:xfrm>
            <a:custGeom>
              <a:avLst/>
              <a:gdLst>
                <a:gd name="connsiteX0" fmla="*/ 180835 w 361670"/>
                <a:gd name="connsiteY0" fmla="*/ 0 h 362610"/>
                <a:gd name="connsiteX1" fmla="*/ 0 w 361670"/>
                <a:gd name="connsiteY1" fmla="*/ 181305 h 362610"/>
                <a:gd name="connsiteX2" fmla="*/ 180835 w 361670"/>
                <a:gd name="connsiteY2" fmla="*/ 362610 h 362610"/>
                <a:gd name="connsiteX3" fmla="*/ 361670 w 361670"/>
                <a:gd name="connsiteY3" fmla="*/ 181305 h 362610"/>
                <a:gd name="connsiteX4" fmla="*/ 361670 w 361670"/>
                <a:gd name="connsiteY4" fmla="*/ 181305 h 362610"/>
                <a:gd name="connsiteX5" fmla="*/ 180835 w 361670"/>
                <a:gd name="connsiteY5" fmla="*/ 0 h 362610"/>
                <a:gd name="connsiteX6" fmla="*/ 180835 w 361670"/>
                <a:gd name="connsiteY6" fmla="*/ 0 h 362610"/>
                <a:gd name="connsiteX7" fmla="*/ 180835 w 361670"/>
                <a:gd name="connsiteY7" fmla="*/ 349204 h 362610"/>
                <a:gd name="connsiteX8" fmla="*/ 12780 w 361670"/>
                <a:gd name="connsiteY8" fmla="*/ 180667 h 362610"/>
                <a:gd name="connsiteX9" fmla="*/ 180835 w 361670"/>
                <a:gd name="connsiteY9" fmla="*/ 12130 h 362610"/>
                <a:gd name="connsiteX10" fmla="*/ 348891 w 361670"/>
                <a:gd name="connsiteY10" fmla="*/ 180667 h 362610"/>
                <a:gd name="connsiteX11" fmla="*/ 180835 w 361670"/>
                <a:gd name="connsiteY11" fmla="*/ 349204 h 362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1670" h="362610">
                  <a:moveTo>
                    <a:pt x="180835" y="0"/>
                  </a:moveTo>
                  <a:cubicBezTo>
                    <a:pt x="80513" y="0"/>
                    <a:pt x="0" y="81076"/>
                    <a:pt x="0" y="181305"/>
                  </a:cubicBezTo>
                  <a:cubicBezTo>
                    <a:pt x="0" y="281533"/>
                    <a:pt x="81152" y="362610"/>
                    <a:pt x="180835" y="362610"/>
                  </a:cubicBezTo>
                  <a:cubicBezTo>
                    <a:pt x="280518" y="362610"/>
                    <a:pt x="361670" y="281533"/>
                    <a:pt x="361670" y="181305"/>
                  </a:cubicBezTo>
                  <a:cubicBezTo>
                    <a:pt x="361670" y="181305"/>
                    <a:pt x="361670" y="181305"/>
                    <a:pt x="361670" y="181305"/>
                  </a:cubicBezTo>
                  <a:cubicBezTo>
                    <a:pt x="361670" y="80438"/>
                    <a:pt x="281157" y="0"/>
                    <a:pt x="180835" y="0"/>
                  </a:cubicBezTo>
                  <a:cubicBezTo>
                    <a:pt x="180835" y="0"/>
                    <a:pt x="180835" y="0"/>
                    <a:pt x="180835" y="0"/>
                  </a:cubicBezTo>
                  <a:close/>
                  <a:moveTo>
                    <a:pt x="180835" y="349204"/>
                  </a:moveTo>
                  <a:cubicBezTo>
                    <a:pt x="87542" y="349204"/>
                    <a:pt x="12780" y="273873"/>
                    <a:pt x="12780" y="180667"/>
                  </a:cubicBezTo>
                  <a:cubicBezTo>
                    <a:pt x="12780" y="87460"/>
                    <a:pt x="88181" y="12130"/>
                    <a:pt x="180835" y="12130"/>
                  </a:cubicBezTo>
                  <a:cubicBezTo>
                    <a:pt x="273489" y="12130"/>
                    <a:pt x="348891" y="87460"/>
                    <a:pt x="348891" y="180667"/>
                  </a:cubicBezTo>
                  <a:cubicBezTo>
                    <a:pt x="348891" y="273234"/>
                    <a:pt x="273489" y="348565"/>
                    <a:pt x="180835" y="3492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Graphic 4">
              <a:extLst>
                <a:ext uri="{FF2B5EF4-FFF2-40B4-BE49-F238E27FC236}">
                  <a16:creationId xmlns:a16="http://schemas.microsoft.com/office/drawing/2014/main" id="{EBCA277D-9C95-3A4D-9F07-14D0C3DBD9FA}"/>
                </a:ext>
              </a:extLst>
            </p:cNvPr>
            <p:cNvSpPr/>
            <p:nvPr/>
          </p:nvSpPr>
          <p:spPr>
            <a:xfrm>
              <a:off x="561675" y="2985951"/>
              <a:ext cx="115657" cy="159599"/>
            </a:xfrm>
            <a:custGeom>
              <a:avLst/>
              <a:gdLst>
                <a:gd name="connsiteX0" fmla="*/ 108629 w 115657"/>
                <a:gd name="connsiteY0" fmla="*/ 0 h 159599"/>
                <a:gd name="connsiteX1" fmla="*/ 6390 w 115657"/>
                <a:gd name="connsiteY1" fmla="*/ 0 h 159599"/>
                <a:gd name="connsiteX2" fmla="*/ 0 w 115657"/>
                <a:gd name="connsiteY2" fmla="*/ 6384 h 159599"/>
                <a:gd name="connsiteX3" fmla="*/ 0 w 115657"/>
                <a:gd name="connsiteY3" fmla="*/ 153216 h 159599"/>
                <a:gd name="connsiteX4" fmla="*/ 6390 w 115657"/>
                <a:gd name="connsiteY4" fmla="*/ 159600 h 159599"/>
                <a:gd name="connsiteX5" fmla="*/ 109268 w 115657"/>
                <a:gd name="connsiteY5" fmla="*/ 159600 h 159599"/>
                <a:gd name="connsiteX6" fmla="*/ 115658 w 115657"/>
                <a:gd name="connsiteY6" fmla="*/ 153216 h 159599"/>
                <a:gd name="connsiteX7" fmla="*/ 115658 w 115657"/>
                <a:gd name="connsiteY7" fmla="*/ 6384 h 159599"/>
                <a:gd name="connsiteX8" fmla="*/ 108629 w 115657"/>
                <a:gd name="connsiteY8" fmla="*/ 0 h 159599"/>
                <a:gd name="connsiteX9" fmla="*/ 102239 w 115657"/>
                <a:gd name="connsiteY9" fmla="*/ 146832 h 159599"/>
                <a:gd name="connsiteX10" fmla="*/ 12780 w 115657"/>
                <a:gd name="connsiteY10" fmla="*/ 146832 h 159599"/>
                <a:gd name="connsiteX11" fmla="*/ 12780 w 115657"/>
                <a:gd name="connsiteY11" fmla="*/ 12768 h 159599"/>
                <a:gd name="connsiteX12" fmla="*/ 102878 w 115657"/>
                <a:gd name="connsiteY12" fmla="*/ 12768 h 159599"/>
                <a:gd name="connsiteX13" fmla="*/ 102878 w 115657"/>
                <a:gd name="connsiteY13" fmla="*/ 146832 h 159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5657" h="159599">
                  <a:moveTo>
                    <a:pt x="108629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lnTo>
                    <a:pt x="0" y="153216"/>
                  </a:lnTo>
                  <a:cubicBezTo>
                    <a:pt x="0" y="157046"/>
                    <a:pt x="2556" y="159600"/>
                    <a:pt x="6390" y="159600"/>
                  </a:cubicBezTo>
                  <a:lnTo>
                    <a:pt x="109268" y="159600"/>
                  </a:lnTo>
                  <a:cubicBezTo>
                    <a:pt x="113102" y="159600"/>
                    <a:pt x="115658" y="157046"/>
                    <a:pt x="115658" y="153216"/>
                  </a:cubicBezTo>
                  <a:lnTo>
                    <a:pt x="115658" y="6384"/>
                  </a:lnTo>
                  <a:cubicBezTo>
                    <a:pt x="115019" y="3192"/>
                    <a:pt x="112463" y="0"/>
                    <a:pt x="108629" y="0"/>
                  </a:cubicBezTo>
                  <a:close/>
                  <a:moveTo>
                    <a:pt x="102239" y="146832"/>
                  </a:moveTo>
                  <a:lnTo>
                    <a:pt x="12780" y="146832"/>
                  </a:lnTo>
                  <a:lnTo>
                    <a:pt x="12780" y="12768"/>
                  </a:lnTo>
                  <a:lnTo>
                    <a:pt x="102878" y="12768"/>
                  </a:lnTo>
                  <a:lnTo>
                    <a:pt x="102878" y="146832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Graphic 4">
              <a:extLst>
                <a:ext uri="{FF2B5EF4-FFF2-40B4-BE49-F238E27FC236}">
                  <a16:creationId xmlns:a16="http://schemas.microsoft.com/office/drawing/2014/main" id="{05F01877-BE22-4746-A7A1-842DB4280DFD}"/>
                </a:ext>
              </a:extLst>
            </p:cNvPr>
            <p:cNvSpPr/>
            <p:nvPr/>
          </p:nvSpPr>
          <p:spPr>
            <a:xfrm>
              <a:off x="591069" y="2956584"/>
              <a:ext cx="115657" cy="159599"/>
            </a:xfrm>
            <a:custGeom>
              <a:avLst/>
              <a:gdLst>
                <a:gd name="connsiteX0" fmla="*/ 108629 w 115657"/>
                <a:gd name="connsiteY0" fmla="*/ 0 h 159599"/>
                <a:gd name="connsiteX1" fmla="*/ 6390 w 115657"/>
                <a:gd name="connsiteY1" fmla="*/ 0 h 159599"/>
                <a:gd name="connsiteX2" fmla="*/ 0 w 115657"/>
                <a:gd name="connsiteY2" fmla="*/ 6384 h 159599"/>
                <a:gd name="connsiteX3" fmla="*/ 6390 w 115657"/>
                <a:gd name="connsiteY3" fmla="*/ 12768 h 159599"/>
                <a:gd name="connsiteX4" fmla="*/ 102878 w 115657"/>
                <a:gd name="connsiteY4" fmla="*/ 12768 h 159599"/>
                <a:gd name="connsiteX5" fmla="*/ 102878 w 115657"/>
                <a:gd name="connsiteY5" fmla="*/ 153216 h 159599"/>
                <a:gd name="connsiteX6" fmla="*/ 109268 w 115657"/>
                <a:gd name="connsiteY6" fmla="*/ 159600 h 159599"/>
                <a:gd name="connsiteX7" fmla="*/ 115658 w 115657"/>
                <a:gd name="connsiteY7" fmla="*/ 153216 h 159599"/>
                <a:gd name="connsiteX8" fmla="*/ 115658 w 115657"/>
                <a:gd name="connsiteY8" fmla="*/ 6384 h 159599"/>
                <a:gd name="connsiteX9" fmla="*/ 108629 w 115657"/>
                <a:gd name="connsiteY9" fmla="*/ 0 h 159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5657" h="159599">
                  <a:moveTo>
                    <a:pt x="108629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lnTo>
                    <a:pt x="102878" y="12768"/>
                  </a:lnTo>
                  <a:lnTo>
                    <a:pt x="102878" y="153216"/>
                  </a:lnTo>
                  <a:cubicBezTo>
                    <a:pt x="102878" y="157046"/>
                    <a:pt x="105434" y="159600"/>
                    <a:pt x="109268" y="159600"/>
                  </a:cubicBezTo>
                  <a:cubicBezTo>
                    <a:pt x="113102" y="159600"/>
                    <a:pt x="115658" y="157046"/>
                    <a:pt x="115658" y="153216"/>
                  </a:cubicBezTo>
                  <a:lnTo>
                    <a:pt x="115658" y="6384"/>
                  </a:lnTo>
                  <a:cubicBezTo>
                    <a:pt x="115019" y="3192"/>
                    <a:pt x="112463" y="0"/>
                    <a:pt x="108629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Graphic 4">
              <a:extLst>
                <a:ext uri="{FF2B5EF4-FFF2-40B4-BE49-F238E27FC236}">
                  <a16:creationId xmlns:a16="http://schemas.microsoft.com/office/drawing/2014/main" id="{34293EC9-B0B5-1B4B-B192-6D176DC60D8B}"/>
                </a:ext>
              </a:extLst>
            </p:cNvPr>
            <p:cNvSpPr/>
            <p:nvPr/>
          </p:nvSpPr>
          <p:spPr>
            <a:xfrm>
              <a:off x="620462" y="2927218"/>
              <a:ext cx="115657" cy="159599"/>
            </a:xfrm>
            <a:custGeom>
              <a:avLst/>
              <a:gdLst>
                <a:gd name="connsiteX0" fmla="*/ 108629 w 115657"/>
                <a:gd name="connsiteY0" fmla="*/ 0 h 159599"/>
                <a:gd name="connsiteX1" fmla="*/ 6390 w 115657"/>
                <a:gd name="connsiteY1" fmla="*/ 0 h 159599"/>
                <a:gd name="connsiteX2" fmla="*/ 0 w 115657"/>
                <a:gd name="connsiteY2" fmla="*/ 6384 h 159599"/>
                <a:gd name="connsiteX3" fmla="*/ 6390 w 115657"/>
                <a:gd name="connsiteY3" fmla="*/ 12768 h 159599"/>
                <a:gd name="connsiteX4" fmla="*/ 102878 w 115657"/>
                <a:gd name="connsiteY4" fmla="*/ 12768 h 159599"/>
                <a:gd name="connsiteX5" fmla="*/ 102878 w 115657"/>
                <a:gd name="connsiteY5" fmla="*/ 153216 h 159599"/>
                <a:gd name="connsiteX6" fmla="*/ 109268 w 115657"/>
                <a:gd name="connsiteY6" fmla="*/ 159600 h 159599"/>
                <a:gd name="connsiteX7" fmla="*/ 115658 w 115657"/>
                <a:gd name="connsiteY7" fmla="*/ 153216 h 159599"/>
                <a:gd name="connsiteX8" fmla="*/ 115658 w 115657"/>
                <a:gd name="connsiteY8" fmla="*/ 6384 h 159599"/>
                <a:gd name="connsiteX9" fmla="*/ 108629 w 115657"/>
                <a:gd name="connsiteY9" fmla="*/ 0 h 159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5657" h="159599">
                  <a:moveTo>
                    <a:pt x="108629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lnTo>
                    <a:pt x="102878" y="12768"/>
                  </a:lnTo>
                  <a:lnTo>
                    <a:pt x="102878" y="153216"/>
                  </a:lnTo>
                  <a:cubicBezTo>
                    <a:pt x="102878" y="157046"/>
                    <a:pt x="105434" y="159600"/>
                    <a:pt x="109268" y="159600"/>
                  </a:cubicBezTo>
                  <a:cubicBezTo>
                    <a:pt x="113102" y="159600"/>
                    <a:pt x="115658" y="157046"/>
                    <a:pt x="115658" y="153216"/>
                  </a:cubicBezTo>
                  <a:lnTo>
                    <a:pt x="115658" y="6384"/>
                  </a:lnTo>
                  <a:cubicBezTo>
                    <a:pt x="115019" y="3192"/>
                    <a:pt x="112463" y="0"/>
                    <a:pt x="108629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Graphic 4">
              <a:extLst>
                <a:ext uri="{FF2B5EF4-FFF2-40B4-BE49-F238E27FC236}">
                  <a16:creationId xmlns:a16="http://schemas.microsoft.com/office/drawing/2014/main" id="{EE20B304-5FF9-CD49-BAF6-F1C796EA5951}"/>
                </a:ext>
              </a:extLst>
            </p:cNvPr>
            <p:cNvSpPr/>
            <p:nvPr/>
          </p:nvSpPr>
          <p:spPr>
            <a:xfrm>
              <a:off x="583401" y="3103416"/>
              <a:ext cx="71567" cy="12767"/>
            </a:xfrm>
            <a:custGeom>
              <a:avLst/>
              <a:gdLst>
                <a:gd name="connsiteX0" fmla="*/ 6390 w 71567"/>
                <a:gd name="connsiteY0" fmla="*/ 12768 h 12767"/>
                <a:gd name="connsiteX1" fmla="*/ 65177 w 71567"/>
                <a:gd name="connsiteY1" fmla="*/ 12768 h 12767"/>
                <a:gd name="connsiteX2" fmla="*/ 71567 w 71567"/>
                <a:gd name="connsiteY2" fmla="*/ 6384 h 12767"/>
                <a:gd name="connsiteX3" fmla="*/ 65177 w 71567"/>
                <a:gd name="connsiteY3" fmla="*/ 0 h 12767"/>
                <a:gd name="connsiteX4" fmla="*/ 6390 w 71567"/>
                <a:gd name="connsiteY4" fmla="*/ 0 h 12767"/>
                <a:gd name="connsiteX5" fmla="*/ 0 w 71567"/>
                <a:gd name="connsiteY5" fmla="*/ 6384 h 12767"/>
                <a:gd name="connsiteX6" fmla="*/ 6390 w 71567"/>
                <a:gd name="connsiteY6" fmla="*/ 12768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567" h="12767">
                  <a:moveTo>
                    <a:pt x="6390" y="12768"/>
                  </a:moveTo>
                  <a:lnTo>
                    <a:pt x="65177" y="12768"/>
                  </a:lnTo>
                  <a:cubicBezTo>
                    <a:pt x="69011" y="12768"/>
                    <a:pt x="71567" y="10214"/>
                    <a:pt x="71567" y="6384"/>
                  </a:cubicBezTo>
                  <a:cubicBezTo>
                    <a:pt x="71567" y="2554"/>
                    <a:pt x="69011" y="0"/>
                    <a:pt x="65177" y="0"/>
                  </a:cubicBez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4"/>
                    <a:pt x="3195" y="12768"/>
                    <a:pt x="6390" y="12768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Graphic 4">
              <a:extLst>
                <a:ext uri="{FF2B5EF4-FFF2-40B4-BE49-F238E27FC236}">
                  <a16:creationId xmlns:a16="http://schemas.microsoft.com/office/drawing/2014/main" id="{7C4ACC41-AD6A-3C46-A854-A5E839DA1996}"/>
                </a:ext>
              </a:extLst>
            </p:cNvPr>
            <p:cNvSpPr/>
            <p:nvPr/>
          </p:nvSpPr>
          <p:spPr>
            <a:xfrm>
              <a:off x="583401" y="3074050"/>
              <a:ext cx="71567" cy="12767"/>
            </a:xfrm>
            <a:custGeom>
              <a:avLst/>
              <a:gdLst>
                <a:gd name="connsiteX0" fmla="*/ 6390 w 71567"/>
                <a:gd name="connsiteY0" fmla="*/ 12768 h 12767"/>
                <a:gd name="connsiteX1" fmla="*/ 65177 w 71567"/>
                <a:gd name="connsiteY1" fmla="*/ 12768 h 12767"/>
                <a:gd name="connsiteX2" fmla="*/ 71567 w 71567"/>
                <a:gd name="connsiteY2" fmla="*/ 6384 h 12767"/>
                <a:gd name="connsiteX3" fmla="*/ 65177 w 71567"/>
                <a:gd name="connsiteY3" fmla="*/ 0 h 12767"/>
                <a:gd name="connsiteX4" fmla="*/ 6390 w 71567"/>
                <a:gd name="connsiteY4" fmla="*/ 0 h 12767"/>
                <a:gd name="connsiteX5" fmla="*/ 0 w 71567"/>
                <a:gd name="connsiteY5" fmla="*/ 6384 h 12767"/>
                <a:gd name="connsiteX6" fmla="*/ 6390 w 71567"/>
                <a:gd name="connsiteY6" fmla="*/ 12768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567" h="12767">
                  <a:moveTo>
                    <a:pt x="6390" y="12768"/>
                  </a:moveTo>
                  <a:lnTo>
                    <a:pt x="65177" y="12768"/>
                  </a:lnTo>
                  <a:cubicBezTo>
                    <a:pt x="69011" y="12768"/>
                    <a:pt x="71567" y="10214"/>
                    <a:pt x="71567" y="6384"/>
                  </a:cubicBezTo>
                  <a:cubicBezTo>
                    <a:pt x="71567" y="2554"/>
                    <a:pt x="69011" y="0"/>
                    <a:pt x="65177" y="0"/>
                  </a:cubicBez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4"/>
                    <a:pt x="3195" y="12768"/>
                    <a:pt x="6390" y="12768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Graphic 4">
              <a:extLst>
                <a:ext uri="{FF2B5EF4-FFF2-40B4-BE49-F238E27FC236}">
                  <a16:creationId xmlns:a16="http://schemas.microsoft.com/office/drawing/2014/main" id="{B5CDD33A-20CF-4B4B-8716-67C4689EF42B}"/>
                </a:ext>
              </a:extLst>
            </p:cNvPr>
            <p:cNvSpPr/>
            <p:nvPr/>
          </p:nvSpPr>
          <p:spPr>
            <a:xfrm>
              <a:off x="583401" y="3044683"/>
              <a:ext cx="71567" cy="12767"/>
            </a:xfrm>
            <a:custGeom>
              <a:avLst/>
              <a:gdLst>
                <a:gd name="connsiteX0" fmla="*/ 6390 w 71567"/>
                <a:gd name="connsiteY0" fmla="*/ 12768 h 12767"/>
                <a:gd name="connsiteX1" fmla="*/ 65177 w 71567"/>
                <a:gd name="connsiteY1" fmla="*/ 12768 h 12767"/>
                <a:gd name="connsiteX2" fmla="*/ 71567 w 71567"/>
                <a:gd name="connsiteY2" fmla="*/ 6384 h 12767"/>
                <a:gd name="connsiteX3" fmla="*/ 65177 w 71567"/>
                <a:gd name="connsiteY3" fmla="*/ 0 h 12767"/>
                <a:gd name="connsiteX4" fmla="*/ 6390 w 71567"/>
                <a:gd name="connsiteY4" fmla="*/ 0 h 12767"/>
                <a:gd name="connsiteX5" fmla="*/ 0 w 71567"/>
                <a:gd name="connsiteY5" fmla="*/ 6384 h 12767"/>
                <a:gd name="connsiteX6" fmla="*/ 6390 w 71567"/>
                <a:gd name="connsiteY6" fmla="*/ 12768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567" h="12767">
                  <a:moveTo>
                    <a:pt x="6390" y="12768"/>
                  </a:moveTo>
                  <a:lnTo>
                    <a:pt x="65177" y="12768"/>
                  </a:lnTo>
                  <a:cubicBezTo>
                    <a:pt x="69011" y="12768"/>
                    <a:pt x="71567" y="10214"/>
                    <a:pt x="71567" y="6384"/>
                  </a:cubicBezTo>
                  <a:cubicBezTo>
                    <a:pt x="71567" y="2554"/>
                    <a:pt x="69011" y="0"/>
                    <a:pt x="65177" y="0"/>
                  </a:cubicBez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4"/>
                    <a:pt x="3195" y="12768"/>
                    <a:pt x="6390" y="12768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Graphic 4">
              <a:extLst>
                <a:ext uri="{FF2B5EF4-FFF2-40B4-BE49-F238E27FC236}">
                  <a16:creationId xmlns:a16="http://schemas.microsoft.com/office/drawing/2014/main" id="{5037A109-10E7-3B46-ADAD-D04C2B5DA143}"/>
                </a:ext>
              </a:extLst>
            </p:cNvPr>
            <p:cNvSpPr/>
            <p:nvPr/>
          </p:nvSpPr>
          <p:spPr>
            <a:xfrm>
              <a:off x="583401" y="3015317"/>
              <a:ext cx="71567" cy="12767"/>
            </a:xfrm>
            <a:custGeom>
              <a:avLst/>
              <a:gdLst>
                <a:gd name="connsiteX0" fmla="*/ 6390 w 71567"/>
                <a:gd name="connsiteY0" fmla="*/ 12768 h 12767"/>
                <a:gd name="connsiteX1" fmla="*/ 65177 w 71567"/>
                <a:gd name="connsiteY1" fmla="*/ 12768 h 12767"/>
                <a:gd name="connsiteX2" fmla="*/ 71567 w 71567"/>
                <a:gd name="connsiteY2" fmla="*/ 6384 h 12767"/>
                <a:gd name="connsiteX3" fmla="*/ 65177 w 71567"/>
                <a:gd name="connsiteY3" fmla="*/ 0 h 12767"/>
                <a:gd name="connsiteX4" fmla="*/ 6390 w 71567"/>
                <a:gd name="connsiteY4" fmla="*/ 0 h 12767"/>
                <a:gd name="connsiteX5" fmla="*/ 0 w 71567"/>
                <a:gd name="connsiteY5" fmla="*/ 6384 h 12767"/>
                <a:gd name="connsiteX6" fmla="*/ 6390 w 71567"/>
                <a:gd name="connsiteY6" fmla="*/ 12768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567" h="12767">
                  <a:moveTo>
                    <a:pt x="6390" y="12768"/>
                  </a:moveTo>
                  <a:lnTo>
                    <a:pt x="65177" y="12768"/>
                  </a:lnTo>
                  <a:cubicBezTo>
                    <a:pt x="69011" y="12768"/>
                    <a:pt x="71567" y="10214"/>
                    <a:pt x="71567" y="6384"/>
                  </a:cubicBezTo>
                  <a:cubicBezTo>
                    <a:pt x="71567" y="2554"/>
                    <a:pt x="69011" y="0"/>
                    <a:pt x="65177" y="0"/>
                  </a:cubicBez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4"/>
                    <a:pt x="3195" y="12768"/>
                    <a:pt x="6390" y="12768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62" name="Graphic 4">
            <a:extLst>
              <a:ext uri="{FF2B5EF4-FFF2-40B4-BE49-F238E27FC236}">
                <a16:creationId xmlns:a16="http://schemas.microsoft.com/office/drawing/2014/main" id="{2314718A-F81C-EC4D-868F-B6F45126C46E}"/>
              </a:ext>
            </a:extLst>
          </p:cNvPr>
          <p:cNvGrpSpPr>
            <a:grpSpLocks noChangeAspect="1"/>
          </p:cNvGrpSpPr>
          <p:nvPr/>
        </p:nvGrpSpPr>
        <p:grpSpPr>
          <a:xfrm>
            <a:off x="4588198" y="3670742"/>
            <a:ext cx="618284" cy="618798"/>
            <a:chOff x="467104" y="2371173"/>
            <a:chExt cx="362309" cy="362610"/>
          </a:xfrm>
          <a:solidFill>
            <a:schemeClr val="bg1"/>
          </a:solidFill>
        </p:grpSpPr>
        <p:sp>
          <p:nvSpPr>
            <p:cNvPr id="63" name="Graphic 4">
              <a:extLst>
                <a:ext uri="{FF2B5EF4-FFF2-40B4-BE49-F238E27FC236}">
                  <a16:creationId xmlns:a16="http://schemas.microsoft.com/office/drawing/2014/main" id="{56F9F6FF-FC39-8741-9D0D-08977B5E1BBD}"/>
                </a:ext>
              </a:extLst>
            </p:cNvPr>
            <p:cNvSpPr/>
            <p:nvPr/>
          </p:nvSpPr>
          <p:spPr>
            <a:xfrm>
              <a:off x="467104" y="2371173"/>
              <a:ext cx="362309" cy="362610"/>
            </a:xfrm>
            <a:custGeom>
              <a:avLst/>
              <a:gdLst>
                <a:gd name="connsiteX0" fmla="*/ 181474 w 362309"/>
                <a:gd name="connsiteY0" fmla="*/ 0 h 362610"/>
                <a:gd name="connsiteX1" fmla="*/ 0 w 362309"/>
                <a:gd name="connsiteY1" fmla="*/ 181305 h 362610"/>
                <a:gd name="connsiteX2" fmla="*/ 181474 w 362309"/>
                <a:gd name="connsiteY2" fmla="*/ 362610 h 362610"/>
                <a:gd name="connsiteX3" fmla="*/ 362309 w 362309"/>
                <a:gd name="connsiteY3" fmla="*/ 181305 h 362610"/>
                <a:gd name="connsiteX4" fmla="*/ 181474 w 362309"/>
                <a:gd name="connsiteY4" fmla="*/ 0 h 362610"/>
                <a:gd name="connsiteX5" fmla="*/ 181474 w 362309"/>
                <a:gd name="connsiteY5" fmla="*/ 0 h 362610"/>
                <a:gd name="connsiteX6" fmla="*/ 181474 w 362309"/>
                <a:gd name="connsiteY6" fmla="*/ 349204 h 362610"/>
                <a:gd name="connsiteX7" fmla="*/ 13419 w 362309"/>
                <a:gd name="connsiteY7" fmla="*/ 180667 h 362610"/>
                <a:gd name="connsiteX8" fmla="*/ 181474 w 362309"/>
                <a:gd name="connsiteY8" fmla="*/ 12130 h 362610"/>
                <a:gd name="connsiteX9" fmla="*/ 349530 w 362309"/>
                <a:gd name="connsiteY9" fmla="*/ 180667 h 362610"/>
                <a:gd name="connsiteX10" fmla="*/ 349530 w 362309"/>
                <a:gd name="connsiteY10" fmla="*/ 180667 h 362610"/>
                <a:gd name="connsiteX11" fmla="*/ 181474 w 362309"/>
                <a:gd name="connsiteY11" fmla="*/ 349204 h 362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2309" h="362610">
                  <a:moveTo>
                    <a:pt x="181474" y="0"/>
                  </a:moveTo>
                  <a:cubicBezTo>
                    <a:pt x="81152" y="0"/>
                    <a:pt x="0" y="81077"/>
                    <a:pt x="0" y="181305"/>
                  </a:cubicBezTo>
                  <a:cubicBezTo>
                    <a:pt x="0" y="281534"/>
                    <a:pt x="81152" y="362610"/>
                    <a:pt x="181474" y="362610"/>
                  </a:cubicBezTo>
                  <a:cubicBezTo>
                    <a:pt x="281796" y="362610"/>
                    <a:pt x="362309" y="281534"/>
                    <a:pt x="362309" y="181305"/>
                  </a:cubicBezTo>
                  <a:cubicBezTo>
                    <a:pt x="362309" y="81077"/>
                    <a:pt x="281796" y="0"/>
                    <a:pt x="181474" y="0"/>
                  </a:cubicBezTo>
                  <a:cubicBezTo>
                    <a:pt x="181474" y="0"/>
                    <a:pt x="181474" y="0"/>
                    <a:pt x="181474" y="0"/>
                  </a:cubicBezTo>
                  <a:close/>
                  <a:moveTo>
                    <a:pt x="181474" y="349204"/>
                  </a:moveTo>
                  <a:cubicBezTo>
                    <a:pt x="88181" y="349204"/>
                    <a:pt x="13419" y="273873"/>
                    <a:pt x="13419" y="180667"/>
                  </a:cubicBezTo>
                  <a:cubicBezTo>
                    <a:pt x="13419" y="87461"/>
                    <a:pt x="88820" y="12130"/>
                    <a:pt x="181474" y="12130"/>
                  </a:cubicBezTo>
                  <a:cubicBezTo>
                    <a:pt x="274128" y="12130"/>
                    <a:pt x="349530" y="87461"/>
                    <a:pt x="349530" y="180667"/>
                  </a:cubicBezTo>
                  <a:cubicBezTo>
                    <a:pt x="349530" y="180667"/>
                    <a:pt x="349530" y="180667"/>
                    <a:pt x="349530" y="180667"/>
                  </a:cubicBezTo>
                  <a:cubicBezTo>
                    <a:pt x="349530" y="273873"/>
                    <a:pt x="274128" y="349204"/>
                    <a:pt x="181474" y="3492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Graphic 4">
              <a:extLst>
                <a:ext uri="{FF2B5EF4-FFF2-40B4-BE49-F238E27FC236}">
                  <a16:creationId xmlns:a16="http://schemas.microsoft.com/office/drawing/2014/main" id="{99EC34AA-ECC8-D940-BD8B-B66DA797D274}"/>
                </a:ext>
              </a:extLst>
            </p:cNvPr>
            <p:cNvSpPr/>
            <p:nvPr/>
          </p:nvSpPr>
          <p:spPr>
            <a:xfrm>
              <a:off x="571020" y="2445626"/>
              <a:ext cx="155116" cy="213066"/>
            </a:xfrm>
            <a:custGeom>
              <a:avLst/>
              <a:gdLst>
                <a:gd name="connsiteX0" fmla="*/ 141458 w 155116"/>
                <a:gd name="connsiteY0" fmla="*/ 172607 h 213066"/>
                <a:gd name="connsiteX1" fmla="*/ 141458 w 155116"/>
                <a:gd name="connsiteY1" fmla="*/ 120897 h 213066"/>
                <a:gd name="connsiteX2" fmla="*/ 121649 w 155116"/>
                <a:gd name="connsiteY2" fmla="*/ 100468 h 213066"/>
                <a:gd name="connsiteX3" fmla="*/ 120371 w 155116"/>
                <a:gd name="connsiteY3" fmla="*/ 100468 h 213066"/>
                <a:gd name="connsiteX4" fmla="*/ 83948 w 155116"/>
                <a:gd name="connsiteY4" fmla="*/ 100468 h 213066"/>
                <a:gd name="connsiteX5" fmla="*/ 83948 w 155116"/>
                <a:gd name="connsiteY5" fmla="*/ 40459 h 213066"/>
                <a:gd name="connsiteX6" fmla="*/ 97367 w 155116"/>
                <a:gd name="connsiteY6" fmla="*/ 14285 h 213066"/>
                <a:gd name="connsiteX7" fmla="*/ 71168 w 155116"/>
                <a:gd name="connsiteY7" fmla="*/ 878 h 213066"/>
                <a:gd name="connsiteX8" fmla="*/ 57749 w 155116"/>
                <a:gd name="connsiteY8" fmla="*/ 27053 h 213066"/>
                <a:gd name="connsiteX9" fmla="*/ 71168 w 155116"/>
                <a:gd name="connsiteY9" fmla="*/ 40459 h 213066"/>
                <a:gd name="connsiteX10" fmla="*/ 71168 w 155116"/>
                <a:gd name="connsiteY10" fmla="*/ 100468 h 213066"/>
                <a:gd name="connsiteX11" fmla="*/ 34746 w 155116"/>
                <a:gd name="connsiteY11" fmla="*/ 100468 h 213066"/>
                <a:gd name="connsiteX12" fmla="*/ 14298 w 155116"/>
                <a:gd name="connsiteY12" fmla="*/ 120259 h 213066"/>
                <a:gd name="connsiteX13" fmla="*/ 14298 w 155116"/>
                <a:gd name="connsiteY13" fmla="*/ 120897 h 213066"/>
                <a:gd name="connsiteX14" fmla="*/ 14298 w 155116"/>
                <a:gd name="connsiteY14" fmla="*/ 172607 h 213066"/>
                <a:gd name="connsiteX15" fmla="*/ 879 w 155116"/>
                <a:gd name="connsiteY15" fmla="*/ 198782 h 213066"/>
                <a:gd name="connsiteX16" fmla="*/ 27078 w 155116"/>
                <a:gd name="connsiteY16" fmla="*/ 212188 h 213066"/>
                <a:gd name="connsiteX17" fmla="*/ 40497 w 155116"/>
                <a:gd name="connsiteY17" fmla="*/ 186014 h 213066"/>
                <a:gd name="connsiteX18" fmla="*/ 27078 w 155116"/>
                <a:gd name="connsiteY18" fmla="*/ 172607 h 213066"/>
                <a:gd name="connsiteX19" fmla="*/ 27078 w 155116"/>
                <a:gd name="connsiteY19" fmla="*/ 120897 h 213066"/>
                <a:gd name="connsiteX20" fmla="*/ 34107 w 155116"/>
                <a:gd name="connsiteY20" fmla="*/ 112598 h 213066"/>
                <a:gd name="connsiteX21" fmla="*/ 34746 w 155116"/>
                <a:gd name="connsiteY21" fmla="*/ 112598 h 213066"/>
                <a:gd name="connsiteX22" fmla="*/ 71168 w 155116"/>
                <a:gd name="connsiteY22" fmla="*/ 112598 h 213066"/>
                <a:gd name="connsiteX23" fmla="*/ 71168 w 155116"/>
                <a:gd name="connsiteY23" fmla="*/ 172607 h 213066"/>
                <a:gd name="connsiteX24" fmla="*/ 57749 w 155116"/>
                <a:gd name="connsiteY24" fmla="*/ 198782 h 213066"/>
                <a:gd name="connsiteX25" fmla="*/ 83948 w 155116"/>
                <a:gd name="connsiteY25" fmla="*/ 212188 h 213066"/>
                <a:gd name="connsiteX26" fmla="*/ 97367 w 155116"/>
                <a:gd name="connsiteY26" fmla="*/ 186014 h 213066"/>
                <a:gd name="connsiteX27" fmla="*/ 83948 w 155116"/>
                <a:gd name="connsiteY27" fmla="*/ 172607 h 213066"/>
                <a:gd name="connsiteX28" fmla="*/ 83948 w 155116"/>
                <a:gd name="connsiteY28" fmla="*/ 112598 h 213066"/>
                <a:gd name="connsiteX29" fmla="*/ 120371 w 155116"/>
                <a:gd name="connsiteY29" fmla="*/ 112598 h 213066"/>
                <a:gd name="connsiteX30" fmla="*/ 128039 w 155116"/>
                <a:gd name="connsiteY30" fmla="*/ 118982 h 213066"/>
                <a:gd name="connsiteX31" fmla="*/ 128039 w 155116"/>
                <a:gd name="connsiteY31" fmla="*/ 120259 h 213066"/>
                <a:gd name="connsiteX32" fmla="*/ 128039 w 155116"/>
                <a:gd name="connsiteY32" fmla="*/ 171969 h 213066"/>
                <a:gd name="connsiteX33" fmla="*/ 114620 w 155116"/>
                <a:gd name="connsiteY33" fmla="*/ 198143 h 213066"/>
                <a:gd name="connsiteX34" fmla="*/ 140819 w 155116"/>
                <a:gd name="connsiteY34" fmla="*/ 211550 h 213066"/>
                <a:gd name="connsiteX35" fmla="*/ 154237 w 155116"/>
                <a:gd name="connsiteY35" fmla="*/ 185375 h 213066"/>
                <a:gd name="connsiteX36" fmla="*/ 141458 w 155116"/>
                <a:gd name="connsiteY36" fmla="*/ 172607 h 213066"/>
                <a:gd name="connsiteX37" fmla="*/ 77558 w 155116"/>
                <a:gd name="connsiteY37" fmla="*/ 13008 h 213066"/>
                <a:gd name="connsiteX38" fmla="*/ 85226 w 155116"/>
                <a:gd name="connsiteY38" fmla="*/ 20669 h 213066"/>
                <a:gd name="connsiteX39" fmla="*/ 77558 w 155116"/>
                <a:gd name="connsiteY39" fmla="*/ 28329 h 213066"/>
                <a:gd name="connsiteX40" fmla="*/ 69890 w 155116"/>
                <a:gd name="connsiteY40" fmla="*/ 20669 h 213066"/>
                <a:gd name="connsiteX41" fmla="*/ 69890 w 155116"/>
                <a:gd name="connsiteY41" fmla="*/ 20669 h 213066"/>
                <a:gd name="connsiteX42" fmla="*/ 77558 w 155116"/>
                <a:gd name="connsiteY42" fmla="*/ 13008 h 213066"/>
                <a:gd name="connsiteX43" fmla="*/ 77558 w 155116"/>
                <a:gd name="connsiteY43" fmla="*/ 13008 h 213066"/>
                <a:gd name="connsiteX44" fmla="*/ 77558 w 155116"/>
                <a:gd name="connsiteY44" fmla="*/ 13008 h 213066"/>
                <a:gd name="connsiteX45" fmla="*/ 20049 w 155116"/>
                <a:gd name="connsiteY45" fmla="*/ 200058 h 213066"/>
                <a:gd name="connsiteX46" fmla="*/ 12381 w 155116"/>
                <a:gd name="connsiteY46" fmla="*/ 192398 h 213066"/>
                <a:gd name="connsiteX47" fmla="*/ 20049 w 155116"/>
                <a:gd name="connsiteY47" fmla="*/ 184737 h 213066"/>
                <a:gd name="connsiteX48" fmla="*/ 27717 w 155116"/>
                <a:gd name="connsiteY48" fmla="*/ 192398 h 213066"/>
                <a:gd name="connsiteX49" fmla="*/ 27717 w 155116"/>
                <a:gd name="connsiteY49" fmla="*/ 192398 h 213066"/>
                <a:gd name="connsiteX50" fmla="*/ 20049 w 155116"/>
                <a:gd name="connsiteY50" fmla="*/ 200058 h 213066"/>
                <a:gd name="connsiteX51" fmla="*/ 20049 w 155116"/>
                <a:gd name="connsiteY51" fmla="*/ 200058 h 213066"/>
                <a:gd name="connsiteX52" fmla="*/ 77558 w 155116"/>
                <a:gd name="connsiteY52" fmla="*/ 200058 h 213066"/>
                <a:gd name="connsiteX53" fmla="*/ 69890 w 155116"/>
                <a:gd name="connsiteY53" fmla="*/ 192398 h 213066"/>
                <a:gd name="connsiteX54" fmla="*/ 77558 w 155116"/>
                <a:gd name="connsiteY54" fmla="*/ 184737 h 213066"/>
                <a:gd name="connsiteX55" fmla="*/ 85226 w 155116"/>
                <a:gd name="connsiteY55" fmla="*/ 192398 h 213066"/>
                <a:gd name="connsiteX56" fmla="*/ 85226 w 155116"/>
                <a:gd name="connsiteY56" fmla="*/ 192398 h 213066"/>
                <a:gd name="connsiteX57" fmla="*/ 77558 w 155116"/>
                <a:gd name="connsiteY57" fmla="*/ 200058 h 213066"/>
                <a:gd name="connsiteX58" fmla="*/ 77558 w 155116"/>
                <a:gd name="connsiteY58" fmla="*/ 200058 h 213066"/>
                <a:gd name="connsiteX59" fmla="*/ 135068 w 155116"/>
                <a:gd name="connsiteY59" fmla="*/ 200058 h 213066"/>
                <a:gd name="connsiteX60" fmla="*/ 127400 w 155116"/>
                <a:gd name="connsiteY60" fmla="*/ 192398 h 213066"/>
                <a:gd name="connsiteX61" fmla="*/ 135068 w 155116"/>
                <a:gd name="connsiteY61" fmla="*/ 184737 h 213066"/>
                <a:gd name="connsiteX62" fmla="*/ 142736 w 155116"/>
                <a:gd name="connsiteY62" fmla="*/ 192398 h 213066"/>
                <a:gd name="connsiteX63" fmla="*/ 142736 w 155116"/>
                <a:gd name="connsiteY63" fmla="*/ 192398 h 213066"/>
                <a:gd name="connsiteX64" fmla="*/ 135068 w 155116"/>
                <a:gd name="connsiteY64" fmla="*/ 200058 h 213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55116" h="213066">
                  <a:moveTo>
                    <a:pt x="141458" y="172607"/>
                  </a:moveTo>
                  <a:lnTo>
                    <a:pt x="141458" y="120897"/>
                  </a:lnTo>
                  <a:cubicBezTo>
                    <a:pt x="142097" y="110044"/>
                    <a:pt x="133151" y="100468"/>
                    <a:pt x="121649" y="100468"/>
                  </a:cubicBezTo>
                  <a:cubicBezTo>
                    <a:pt x="121010" y="100468"/>
                    <a:pt x="121010" y="100468"/>
                    <a:pt x="120371" y="100468"/>
                  </a:cubicBezTo>
                  <a:lnTo>
                    <a:pt x="83948" y="100468"/>
                  </a:lnTo>
                  <a:lnTo>
                    <a:pt x="83948" y="40459"/>
                  </a:lnTo>
                  <a:cubicBezTo>
                    <a:pt x="94811" y="36629"/>
                    <a:pt x="100562" y="25137"/>
                    <a:pt x="97367" y="14285"/>
                  </a:cubicBezTo>
                  <a:cubicBezTo>
                    <a:pt x="94172" y="3432"/>
                    <a:pt x="82031" y="-2314"/>
                    <a:pt x="71168" y="878"/>
                  </a:cubicBezTo>
                  <a:cubicBezTo>
                    <a:pt x="60305" y="4070"/>
                    <a:pt x="54554" y="16200"/>
                    <a:pt x="57749" y="27053"/>
                  </a:cubicBezTo>
                  <a:cubicBezTo>
                    <a:pt x="59666" y="33437"/>
                    <a:pt x="64778" y="38544"/>
                    <a:pt x="71168" y="40459"/>
                  </a:cubicBezTo>
                  <a:lnTo>
                    <a:pt x="71168" y="100468"/>
                  </a:lnTo>
                  <a:lnTo>
                    <a:pt x="34746" y="100468"/>
                  </a:lnTo>
                  <a:cubicBezTo>
                    <a:pt x="23244" y="100468"/>
                    <a:pt x="14298" y="109406"/>
                    <a:pt x="14298" y="120259"/>
                  </a:cubicBezTo>
                  <a:cubicBezTo>
                    <a:pt x="14298" y="120259"/>
                    <a:pt x="14298" y="120897"/>
                    <a:pt x="14298" y="120897"/>
                  </a:cubicBezTo>
                  <a:lnTo>
                    <a:pt x="14298" y="172607"/>
                  </a:lnTo>
                  <a:cubicBezTo>
                    <a:pt x="3435" y="176438"/>
                    <a:pt x="-2316" y="187929"/>
                    <a:pt x="879" y="198782"/>
                  </a:cubicBezTo>
                  <a:cubicBezTo>
                    <a:pt x="4074" y="209634"/>
                    <a:pt x="16215" y="215380"/>
                    <a:pt x="27078" y="212188"/>
                  </a:cubicBezTo>
                  <a:cubicBezTo>
                    <a:pt x="37941" y="208996"/>
                    <a:pt x="43692" y="196866"/>
                    <a:pt x="40497" y="186014"/>
                  </a:cubicBezTo>
                  <a:cubicBezTo>
                    <a:pt x="38580" y="179630"/>
                    <a:pt x="33468" y="174522"/>
                    <a:pt x="27078" y="172607"/>
                  </a:cubicBezTo>
                  <a:lnTo>
                    <a:pt x="27078" y="120897"/>
                  </a:lnTo>
                  <a:cubicBezTo>
                    <a:pt x="27078" y="116428"/>
                    <a:pt x="30273" y="113236"/>
                    <a:pt x="34107" y="112598"/>
                  </a:cubicBezTo>
                  <a:cubicBezTo>
                    <a:pt x="34107" y="112598"/>
                    <a:pt x="34746" y="112598"/>
                    <a:pt x="34746" y="112598"/>
                  </a:cubicBezTo>
                  <a:lnTo>
                    <a:pt x="71168" y="112598"/>
                  </a:lnTo>
                  <a:lnTo>
                    <a:pt x="71168" y="172607"/>
                  </a:lnTo>
                  <a:cubicBezTo>
                    <a:pt x="60305" y="176438"/>
                    <a:pt x="54554" y="187929"/>
                    <a:pt x="57749" y="198782"/>
                  </a:cubicBezTo>
                  <a:cubicBezTo>
                    <a:pt x="60944" y="209634"/>
                    <a:pt x="73085" y="215380"/>
                    <a:pt x="83948" y="212188"/>
                  </a:cubicBezTo>
                  <a:cubicBezTo>
                    <a:pt x="94811" y="208996"/>
                    <a:pt x="100562" y="196866"/>
                    <a:pt x="97367" y="186014"/>
                  </a:cubicBezTo>
                  <a:cubicBezTo>
                    <a:pt x="95450" y="179630"/>
                    <a:pt x="90338" y="174522"/>
                    <a:pt x="83948" y="172607"/>
                  </a:cubicBezTo>
                  <a:lnTo>
                    <a:pt x="83948" y="112598"/>
                  </a:lnTo>
                  <a:lnTo>
                    <a:pt x="120371" y="112598"/>
                  </a:lnTo>
                  <a:cubicBezTo>
                    <a:pt x="124205" y="111959"/>
                    <a:pt x="128039" y="115151"/>
                    <a:pt x="128039" y="118982"/>
                  </a:cubicBezTo>
                  <a:cubicBezTo>
                    <a:pt x="128039" y="119620"/>
                    <a:pt x="128039" y="119620"/>
                    <a:pt x="128039" y="120259"/>
                  </a:cubicBezTo>
                  <a:lnTo>
                    <a:pt x="128039" y="171969"/>
                  </a:lnTo>
                  <a:cubicBezTo>
                    <a:pt x="117176" y="175799"/>
                    <a:pt x="111425" y="187290"/>
                    <a:pt x="114620" y="198143"/>
                  </a:cubicBezTo>
                  <a:cubicBezTo>
                    <a:pt x="117815" y="208996"/>
                    <a:pt x="129956" y="214742"/>
                    <a:pt x="140819" y="211550"/>
                  </a:cubicBezTo>
                  <a:cubicBezTo>
                    <a:pt x="151681" y="208358"/>
                    <a:pt x="157432" y="196228"/>
                    <a:pt x="154237" y="185375"/>
                  </a:cubicBezTo>
                  <a:cubicBezTo>
                    <a:pt x="152320" y="179630"/>
                    <a:pt x="147209" y="174522"/>
                    <a:pt x="141458" y="172607"/>
                  </a:cubicBezTo>
                  <a:close/>
                  <a:moveTo>
                    <a:pt x="77558" y="13008"/>
                  </a:moveTo>
                  <a:cubicBezTo>
                    <a:pt x="82031" y="13008"/>
                    <a:pt x="85226" y="16838"/>
                    <a:pt x="85226" y="20669"/>
                  </a:cubicBezTo>
                  <a:cubicBezTo>
                    <a:pt x="85226" y="25137"/>
                    <a:pt x="81392" y="28329"/>
                    <a:pt x="77558" y="28329"/>
                  </a:cubicBezTo>
                  <a:cubicBezTo>
                    <a:pt x="73085" y="28329"/>
                    <a:pt x="69890" y="24499"/>
                    <a:pt x="69890" y="20669"/>
                  </a:cubicBezTo>
                  <a:lnTo>
                    <a:pt x="69890" y="20669"/>
                  </a:lnTo>
                  <a:cubicBezTo>
                    <a:pt x="69251" y="16200"/>
                    <a:pt x="73085" y="12369"/>
                    <a:pt x="77558" y="13008"/>
                  </a:cubicBezTo>
                  <a:cubicBezTo>
                    <a:pt x="77558" y="12369"/>
                    <a:pt x="77558" y="12369"/>
                    <a:pt x="77558" y="13008"/>
                  </a:cubicBezTo>
                  <a:lnTo>
                    <a:pt x="77558" y="13008"/>
                  </a:lnTo>
                  <a:close/>
                  <a:moveTo>
                    <a:pt x="20049" y="200058"/>
                  </a:moveTo>
                  <a:cubicBezTo>
                    <a:pt x="15576" y="200058"/>
                    <a:pt x="12381" y="196228"/>
                    <a:pt x="12381" y="192398"/>
                  </a:cubicBezTo>
                  <a:cubicBezTo>
                    <a:pt x="12381" y="187929"/>
                    <a:pt x="16215" y="184737"/>
                    <a:pt x="20049" y="184737"/>
                  </a:cubicBezTo>
                  <a:cubicBezTo>
                    <a:pt x="24522" y="184737"/>
                    <a:pt x="27717" y="188567"/>
                    <a:pt x="27717" y="192398"/>
                  </a:cubicBezTo>
                  <a:lnTo>
                    <a:pt x="27717" y="192398"/>
                  </a:lnTo>
                  <a:cubicBezTo>
                    <a:pt x="27717" y="196228"/>
                    <a:pt x="24522" y="200058"/>
                    <a:pt x="20049" y="200058"/>
                  </a:cubicBezTo>
                  <a:lnTo>
                    <a:pt x="20049" y="200058"/>
                  </a:lnTo>
                  <a:close/>
                  <a:moveTo>
                    <a:pt x="77558" y="200058"/>
                  </a:moveTo>
                  <a:cubicBezTo>
                    <a:pt x="73085" y="200058"/>
                    <a:pt x="69890" y="196228"/>
                    <a:pt x="69890" y="192398"/>
                  </a:cubicBezTo>
                  <a:cubicBezTo>
                    <a:pt x="69890" y="187929"/>
                    <a:pt x="73724" y="184737"/>
                    <a:pt x="77558" y="184737"/>
                  </a:cubicBezTo>
                  <a:cubicBezTo>
                    <a:pt x="82031" y="184737"/>
                    <a:pt x="85226" y="188567"/>
                    <a:pt x="85226" y="192398"/>
                  </a:cubicBezTo>
                  <a:lnTo>
                    <a:pt x="85226" y="192398"/>
                  </a:lnTo>
                  <a:cubicBezTo>
                    <a:pt x="85226" y="196866"/>
                    <a:pt x="82031" y="200058"/>
                    <a:pt x="77558" y="200058"/>
                  </a:cubicBezTo>
                  <a:lnTo>
                    <a:pt x="77558" y="200058"/>
                  </a:lnTo>
                  <a:close/>
                  <a:moveTo>
                    <a:pt x="135068" y="200058"/>
                  </a:moveTo>
                  <a:cubicBezTo>
                    <a:pt x="130595" y="200058"/>
                    <a:pt x="127400" y="196228"/>
                    <a:pt x="127400" y="192398"/>
                  </a:cubicBezTo>
                  <a:cubicBezTo>
                    <a:pt x="127400" y="187929"/>
                    <a:pt x="131234" y="184737"/>
                    <a:pt x="135068" y="184737"/>
                  </a:cubicBezTo>
                  <a:cubicBezTo>
                    <a:pt x="139541" y="184737"/>
                    <a:pt x="142736" y="188567"/>
                    <a:pt x="142736" y="192398"/>
                  </a:cubicBezTo>
                  <a:lnTo>
                    <a:pt x="142736" y="192398"/>
                  </a:lnTo>
                  <a:cubicBezTo>
                    <a:pt x="142736" y="196866"/>
                    <a:pt x="138902" y="200058"/>
                    <a:pt x="135068" y="200058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6" name="Rectangle 65"/>
          <p:cNvSpPr/>
          <p:nvPr/>
        </p:nvSpPr>
        <p:spPr>
          <a:xfrm>
            <a:off x="7600673" y="6033052"/>
            <a:ext cx="2398092" cy="741230"/>
          </a:xfrm>
          <a:prstGeom prst="rect">
            <a:avLst/>
          </a:prstGeom>
          <a:noFill/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15276602"/>
              </p:ext>
            </p:extLst>
          </p:nvPr>
        </p:nvGraphicFramePr>
        <p:xfrm>
          <a:off x="7650367" y="6033052"/>
          <a:ext cx="1016554" cy="10210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6" name="Packager Shell Object" showAsIcon="1" r:id="rId5" imgW="914400" imgH="806400" progId="Package">
                  <p:embed/>
                </p:oleObj>
              </mc:Choice>
              <mc:Fallback>
                <p:oleObj name="Packager Shell Object" showAsIcon="1" r:id="rId5" imgW="914400" imgH="80640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7650367" y="6033052"/>
                        <a:ext cx="1016554" cy="10210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24406404"/>
              </p:ext>
            </p:extLst>
          </p:nvPr>
        </p:nvGraphicFramePr>
        <p:xfrm>
          <a:off x="8552121" y="6140346"/>
          <a:ext cx="914400" cy="806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7" name="Document" showAsIcon="1" r:id="rId7" imgW="914400" imgH="806400" progId="Word.Document.12">
                  <p:embed/>
                </p:oleObj>
              </mc:Choice>
              <mc:Fallback>
                <p:oleObj name="Document" showAsIcon="1" r:id="rId7" imgW="914400" imgH="80640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8552121" y="6140346"/>
                        <a:ext cx="914400" cy="8064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79124257"/>
              </p:ext>
            </p:extLst>
          </p:nvPr>
        </p:nvGraphicFramePr>
        <p:xfrm>
          <a:off x="9175751" y="6140346"/>
          <a:ext cx="914400" cy="806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8" name="Document" showAsIcon="1" r:id="rId9" imgW="914400" imgH="806400" progId="Word.Document.12">
                  <p:embed/>
                </p:oleObj>
              </mc:Choice>
              <mc:Fallback>
                <p:oleObj name="Document" showAsIcon="1" r:id="rId9" imgW="914400" imgH="80640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9175751" y="6140346"/>
                        <a:ext cx="914400" cy="8064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8521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Content Placeholder 2"/>
          <p:cNvSpPr>
            <a:spLocks noGrp="1"/>
          </p:cNvSpPr>
          <p:nvPr>
            <p:ph sz="quarter" idx="10"/>
          </p:nvPr>
        </p:nvSpPr>
        <p:spPr>
          <a:xfrm>
            <a:off x="469900" y="1115315"/>
            <a:ext cx="9397113" cy="929709"/>
          </a:xfrm>
        </p:spPr>
        <p:txBody>
          <a:bodyPr/>
          <a:lstStyle/>
          <a:p>
            <a:pPr algn="just"/>
            <a:r>
              <a:rPr lang="es-VE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 esta fase se enumeran las etapas correspondientes a la configuración del </a:t>
            </a:r>
            <a:r>
              <a:rPr lang="es-VE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utsourcing</a:t>
            </a:r>
            <a:r>
              <a:rPr lang="es-VE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contable con SAP Business One. Aquí se realiza la carga de la data maestra (plan de cuentas, socios de negocio, entre otras) y se entrega el resultados de las pruebas integrales con los usuarios funcionales.  </a:t>
            </a:r>
            <a:endParaRPr lang="es-VE" sz="1600" dirty="0"/>
          </a:p>
          <a:p>
            <a:endParaRPr lang="es-VE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VE" dirty="0" smtClean="0"/>
              <a:t>Implementación SAP Business </a:t>
            </a:r>
            <a:r>
              <a:rPr lang="es-VE" dirty="0" err="1" smtClean="0"/>
              <a:t>One</a:t>
            </a:r>
            <a:endParaRPr lang="es-VE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9901" y="399191"/>
            <a:ext cx="9163050" cy="334102"/>
          </a:xfrm>
        </p:spPr>
        <p:txBody>
          <a:bodyPr/>
          <a:lstStyle/>
          <a:p>
            <a:r>
              <a:rPr lang="es-VE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alización</a:t>
            </a:r>
            <a:endParaRPr lang="es-VE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6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67316" y="2070050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foque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etodológic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78388" y="2422880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eparación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icial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67315" y="3063181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alización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67315" y="3414412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eparación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Final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67315" y="2752510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usiness Blueprin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4" name="Rectangle 123"/>
          <p:cNvSpPr/>
          <p:nvPr/>
        </p:nvSpPr>
        <p:spPr>
          <a:xfrm>
            <a:off x="511618" y="4996188"/>
            <a:ext cx="9430328" cy="88858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VE"/>
          </a:p>
        </p:txBody>
      </p:sp>
      <p:sp>
        <p:nvSpPr>
          <p:cNvPr id="126" name="Rectangle 125"/>
          <p:cNvSpPr/>
          <p:nvPr/>
        </p:nvSpPr>
        <p:spPr>
          <a:xfrm>
            <a:off x="770765" y="5154191"/>
            <a:ext cx="873707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VE" sz="1600" dirty="0" smtClean="0">
                <a:latin typeface="Calibri" panose="020F0502020204030204" pitchFamily="34" charset="0"/>
                <a:cs typeface="Calibri" panose="020F0502020204030204" pitchFamily="34" charset="0"/>
              </a:rPr>
              <a:t>En esta etapa se realiza la entrega de las plantillas correspondientes a la data maestra para el llenado por parte del cliente. Estas por convención se realiza mediante un archivo Excel. </a:t>
            </a:r>
            <a:endParaRPr lang="es-VE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7" name="Freeform 28">
            <a:extLst>
              <a:ext uri="{FF2B5EF4-FFF2-40B4-BE49-F238E27FC236}">
                <a16:creationId xmlns:a16="http://schemas.microsoft.com/office/drawing/2014/main" id="{3197AF8E-5F3C-094A-B67B-7C800A06F320}"/>
              </a:ext>
            </a:extLst>
          </p:cNvPr>
          <p:cNvSpPr>
            <a:spLocks/>
          </p:cNvSpPr>
          <p:nvPr/>
        </p:nvSpPr>
        <p:spPr bwMode="auto">
          <a:xfrm>
            <a:off x="4011858" y="1848504"/>
            <a:ext cx="1943862" cy="2553479"/>
          </a:xfrm>
          <a:custGeom>
            <a:avLst/>
            <a:gdLst>
              <a:gd name="T0" fmla="*/ 818 w 1069"/>
              <a:gd name="T1" fmla="*/ 1484 h 1518"/>
              <a:gd name="T2" fmla="*/ 591 w 1069"/>
              <a:gd name="T3" fmla="*/ 1399 h 1518"/>
              <a:gd name="T4" fmla="*/ 56 w 1069"/>
              <a:gd name="T5" fmla="*/ 474 h 1518"/>
              <a:gd name="T6" fmla="*/ 494 w 1069"/>
              <a:gd name="T7" fmla="*/ 221 h 1518"/>
              <a:gd name="T8" fmla="*/ 1028 w 1069"/>
              <a:gd name="T9" fmla="*/ 1146 h 1518"/>
              <a:gd name="T10" fmla="*/ 995 w 1069"/>
              <a:gd name="T11" fmla="*/ 1372 h 1518"/>
              <a:gd name="T12" fmla="*/ 1022 w 1069"/>
              <a:gd name="T13" fmla="*/ 1392 h 1518"/>
              <a:gd name="T14" fmla="*/ 1062 w 1069"/>
              <a:gd name="T15" fmla="*/ 1144 h 1518"/>
              <a:gd name="T16" fmla="*/ 513 w 1069"/>
              <a:gd name="T17" fmla="*/ 193 h 1518"/>
              <a:gd name="T18" fmla="*/ 23 w 1069"/>
              <a:gd name="T19" fmla="*/ 476 h 1518"/>
              <a:gd name="T20" fmla="*/ 572 w 1069"/>
              <a:gd name="T21" fmla="*/ 1427 h 1518"/>
              <a:gd name="T22" fmla="*/ 825 w 1069"/>
              <a:gd name="T23" fmla="*/ 1517 h 1518"/>
              <a:gd name="T24" fmla="*/ 818 w 1069"/>
              <a:gd name="T25" fmla="*/ 1484 h 1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69" h="1518">
                <a:moveTo>
                  <a:pt x="818" y="1484"/>
                </a:moveTo>
                <a:cubicBezTo>
                  <a:pt x="753" y="1483"/>
                  <a:pt x="676" y="1456"/>
                  <a:pt x="591" y="1399"/>
                </a:cubicBezTo>
                <a:cubicBezTo>
                  <a:pt x="317" y="1217"/>
                  <a:pt x="77" y="802"/>
                  <a:pt x="56" y="474"/>
                </a:cubicBezTo>
                <a:cubicBezTo>
                  <a:pt x="36" y="155"/>
                  <a:pt x="228" y="44"/>
                  <a:pt x="494" y="221"/>
                </a:cubicBezTo>
                <a:cubicBezTo>
                  <a:pt x="767" y="403"/>
                  <a:pt x="1007" y="819"/>
                  <a:pt x="1028" y="1146"/>
                </a:cubicBezTo>
                <a:cubicBezTo>
                  <a:pt x="1034" y="1240"/>
                  <a:pt x="1022" y="1316"/>
                  <a:pt x="995" y="1372"/>
                </a:cubicBezTo>
                <a:cubicBezTo>
                  <a:pt x="1005" y="1378"/>
                  <a:pt x="1014" y="1384"/>
                  <a:pt x="1022" y="1392"/>
                </a:cubicBezTo>
                <a:cubicBezTo>
                  <a:pt x="1054" y="1331"/>
                  <a:pt x="1069" y="1247"/>
                  <a:pt x="1062" y="1144"/>
                </a:cubicBezTo>
                <a:cubicBezTo>
                  <a:pt x="1040" y="806"/>
                  <a:pt x="795" y="381"/>
                  <a:pt x="513" y="193"/>
                </a:cubicBezTo>
                <a:cubicBezTo>
                  <a:pt x="224" y="0"/>
                  <a:pt x="0" y="129"/>
                  <a:pt x="23" y="476"/>
                </a:cubicBezTo>
                <a:cubicBezTo>
                  <a:pt x="45" y="814"/>
                  <a:pt x="290" y="1239"/>
                  <a:pt x="572" y="1427"/>
                </a:cubicBezTo>
                <a:cubicBezTo>
                  <a:pt x="665" y="1489"/>
                  <a:pt x="751" y="1518"/>
                  <a:pt x="825" y="1517"/>
                </a:cubicBezTo>
                <a:cubicBezTo>
                  <a:pt x="821" y="1506"/>
                  <a:pt x="819" y="1495"/>
                  <a:pt x="818" y="148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28" name="Oval 128">
            <a:extLst>
              <a:ext uri="{FF2B5EF4-FFF2-40B4-BE49-F238E27FC236}">
                <a16:creationId xmlns:a16="http://schemas.microsoft.com/office/drawing/2014/main" id="{C9EE2624-5FAE-314F-B382-8C108FD446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00936" y="2155122"/>
            <a:ext cx="298007" cy="275101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29" name="Freeform 129">
            <a:extLst>
              <a:ext uri="{FF2B5EF4-FFF2-40B4-BE49-F238E27FC236}">
                <a16:creationId xmlns:a16="http://schemas.microsoft.com/office/drawing/2014/main" id="{0672DB6A-5ED0-024A-81EC-BFA9E96D5ABE}"/>
              </a:ext>
            </a:extLst>
          </p:cNvPr>
          <p:cNvSpPr>
            <a:spLocks noEditPoints="1"/>
          </p:cNvSpPr>
          <p:nvPr/>
        </p:nvSpPr>
        <p:spPr bwMode="auto">
          <a:xfrm>
            <a:off x="5529452" y="2164193"/>
            <a:ext cx="341832" cy="316592"/>
          </a:xfrm>
          <a:custGeom>
            <a:avLst/>
            <a:gdLst>
              <a:gd name="T0" fmla="*/ 94 w 188"/>
              <a:gd name="T1" fmla="*/ 0 h 188"/>
              <a:gd name="T2" fmla="*/ 188 w 188"/>
              <a:gd name="T3" fmla="*/ 94 h 188"/>
              <a:gd name="T4" fmla="*/ 94 w 188"/>
              <a:gd name="T5" fmla="*/ 188 h 188"/>
              <a:gd name="T6" fmla="*/ 0 w 188"/>
              <a:gd name="T7" fmla="*/ 94 h 188"/>
              <a:gd name="T8" fmla="*/ 94 w 188"/>
              <a:gd name="T9" fmla="*/ 0 h 188"/>
              <a:gd name="T10" fmla="*/ 94 w 188"/>
              <a:gd name="T11" fmla="*/ 12 h 188"/>
              <a:gd name="T12" fmla="*/ 12 w 188"/>
              <a:gd name="T13" fmla="*/ 94 h 188"/>
              <a:gd name="T14" fmla="*/ 94 w 188"/>
              <a:gd name="T15" fmla="*/ 176 h 188"/>
              <a:gd name="T16" fmla="*/ 176 w 188"/>
              <a:gd name="T17" fmla="*/ 94 h 188"/>
              <a:gd name="T18" fmla="*/ 94 w 188"/>
              <a:gd name="T19" fmla="*/ 12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88" h="188">
                <a:moveTo>
                  <a:pt x="94" y="0"/>
                </a:moveTo>
                <a:cubicBezTo>
                  <a:pt x="146" y="0"/>
                  <a:pt x="188" y="42"/>
                  <a:pt x="188" y="94"/>
                </a:cubicBezTo>
                <a:cubicBezTo>
                  <a:pt x="188" y="146"/>
                  <a:pt x="146" y="188"/>
                  <a:pt x="94" y="188"/>
                </a:cubicBezTo>
                <a:cubicBezTo>
                  <a:pt x="42" y="188"/>
                  <a:pt x="0" y="146"/>
                  <a:pt x="0" y="94"/>
                </a:cubicBezTo>
                <a:cubicBezTo>
                  <a:pt x="0" y="42"/>
                  <a:pt x="42" y="0"/>
                  <a:pt x="94" y="0"/>
                </a:cubicBezTo>
                <a:close/>
                <a:moveTo>
                  <a:pt x="94" y="12"/>
                </a:moveTo>
                <a:cubicBezTo>
                  <a:pt x="49" y="12"/>
                  <a:pt x="12" y="49"/>
                  <a:pt x="12" y="94"/>
                </a:cubicBezTo>
                <a:cubicBezTo>
                  <a:pt x="12" y="140"/>
                  <a:pt x="49" y="176"/>
                  <a:pt x="94" y="176"/>
                </a:cubicBezTo>
                <a:cubicBezTo>
                  <a:pt x="139" y="176"/>
                  <a:pt x="176" y="140"/>
                  <a:pt x="176" y="94"/>
                </a:cubicBezTo>
                <a:cubicBezTo>
                  <a:pt x="176" y="49"/>
                  <a:pt x="139" y="12"/>
                  <a:pt x="94" y="12"/>
                </a:cubicBezTo>
                <a:close/>
              </a:path>
            </a:pathLst>
          </a:custGeom>
          <a:solidFill>
            <a:srgbClr val="00ABA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30" name="Oval 130">
            <a:extLst>
              <a:ext uri="{FF2B5EF4-FFF2-40B4-BE49-F238E27FC236}">
                <a16:creationId xmlns:a16="http://schemas.microsoft.com/office/drawing/2014/main" id="{FFEF4023-D2B0-5C43-8089-C09CF9F873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58093" y="3282047"/>
            <a:ext cx="232757" cy="215571"/>
          </a:xfrm>
          <a:prstGeom prst="ellipse">
            <a:avLst/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31" name="Freeform 131">
            <a:extLst>
              <a:ext uri="{FF2B5EF4-FFF2-40B4-BE49-F238E27FC236}">
                <a16:creationId xmlns:a16="http://schemas.microsoft.com/office/drawing/2014/main" id="{1D9AF440-EF99-F240-B44A-CA6E18145442}"/>
              </a:ext>
            </a:extLst>
          </p:cNvPr>
          <p:cNvSpPr>
            <a:spLocks noEditPoints="1"/>
          </p:cNvSpPr>
          <p:nvPr/>
        </p:nvSpPr>
        <p:spPr bwMode="auto">
          <a:xfrm>
            <a:off x="3436667" y="3262203"/>
            <a:ext cx="277556" cy="255258"/>
          </a:xfrm>
          <a:custGeom>
            <a:avLst/>
            <a:gdLst>
              <a:gd name="T0" fmla="*/ 76 w 153"/>
              <a:gd name="T1" fmla="*/ 0 h 152"/>
              <a:gd name="T2" fmla="*/ 153 w 153"/>
              <a:gd name="T3" fmla="*/ 76 h 152"/>
              <a:gd name="T4" fmla="*/ 76 w 153"/>
              <a:gd name="T5" fmla="*/ 152 h 152"/>
              <a:gd name="T6" fmla="*/ 0 w 153"/>
              <a:gd name="T7" fmla="*/ 76 h 152"/>
              <a:gd name="T8" fmla="*/ 76 w 153"/>
              <a:gd name="T9" fmla="*/ 0 h 152"/>
              <a:gd name="T10" fmla="*/ 76 w 153"/>
              <a:gd name="T11" fmla="*/ 12 h 152"/>
              <a:gd name="T12" fmla="*/ 12 w 153"/>
              <a:gd name="T13" fmla="*/ 76 h 152"/>
              <a:gd name="T14" fmla="*/ 76 w 153"/>
              <a:gd name="T15" fmla="*/ 140 h 152"/>
              <a:gd name="T16" fmla="*/ 140 w 153"/>
              <a:gd name="T17" fmla="*/ 76 h 152"/>
              <a:gd name="T18" fmla="*/ 76 w 153"/>
              <a:gd name="T19" fmla="*/ 12 h 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53" h="152">
                <a:moveTo>
                  <a:pt x="76" y="0"/>
                </a:moveTo>
                <a:cubicBezTo>
                  <a:pt x="118" y="0"/>
                  <a:pt x="153" y="34"/>
                  <a:pt x="153" y="76"/>
                </a:cubicBezTo>
                <a:cubicBezTo>
                  <a:pt x="153" y="118"/>
                  <a:pt x="118" y="152"/>
                  <a:pt x="76" y="152"/>
                </a:cubicBezTo>
                <a:cubicBezTo>
                  <a:pt x="34" y="152"/>
                  <a:pt x="0" y="118"/>
                  <a:pt x="0" y="76"/>
                </a:cubicBezTo>
                <a:cubicBezTo>
                  <a:pt x="0" y="34"/>
                  <a:pt x="34" y="0"/>
                  <a:pt x="76" y="0"/>
                </a:cubicBezTo>
                <a:close/>
                <a:moveTo>
                  <a:pt x="76" y="12"/>
                </a:moveTo>
                <a:cubicBezTo>
                  <a:pt x="41" y="12"/>
                  <a:pt x="12" y="41"/>
                  <a:pt x="12" y="76"/>
                </a:cubicBezTo>
                <a:cubicBezTo>
                  <a:pt x="12" y="112"/>
                  <a:pt x="41" y="140"/>
                  <a:pt x="76" y="140"/>
                </a:cubicBezTo>
                <a:cubicBezTo>
                  <a:pt x="112" y="140"/>
                  <a:pt x="140" y="112"/>
                  <a:pt x="140" y="76"/>
                </a:cubicBezTo>
                <a:cubicBezTo>
                  <a:pt x="140" y="41"/>
                  <a:pt x="112" y="12"/>
                  <a:pt x="76" y="12"/>
                </a:cubicBezTo>
                <a:close/>
              </a:path>
            </a:pathLst>
          </a:custGeom>
          <a:solidFill>
            <a:srgbClr val="0076A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32" name="Oval 132">
            <a:extLst>
              <a:ext uri="{FF2B5EF4-FFF2-40B4-BE49-F238E27FC236}">
                <a16:creationId xmlns:a16="http://schemas.microsoft.com/office/drawing/2014/main" id="{A26A43B3-C2B8-F447-888F-6487432FEF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91552" y="4063585"/>
            <a:ext cx="390526" cy="36169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33" name="Freeform 133">
            <a:extLst>
              <a:ext uri="{FF2B5EF4-FFF2-40B4-BE49-F238E27FC236}">
                <a16:creationId xmlns:a16="http://schemas.microsoft.com/office/drawing/2014/main" id="{80AFFABD-6F86-6347-A962-1E6C519408FF}"/>
              </a:ext>
            </a:extLst>
          </p:cNvPr>
          <p:cNvSpPr>
            <a:spLocks noEditPoints="1"/>
          </p:cNvSpPr>
          <p:nvPr/>
        </p:nvSpPr>
        <p:spPr bwMode="auto">
          <a:xfrm>
            <a:off x="5498969" y="4083500"/>
            <a:ext cx="437272" cy="401377"/>
          </a:xfrm>
          <a:custGeom>
            <a:avLst/>
            <a:gdLst>
              <a:gd name="T0" fmla="*/ 120 w 240"/>
              <a:gd name="T1" fmla="*/ 0 h 239"/>
              <a:gd name="T2" fmla="*/ 240 w 240"/>
              <a:gd name="T3" fmla="*/ 119 h 239"/>
              <a:gd name="T4" fmla="*/ 120 w 240"/>
              <a:gd name="T5" fmla="*/ 239 h 239"/>
              <a:gd name="T6" fmla="*/ 0 w 240"/>
              <a:gd name="T7" fmla="*/ 119 h 239"/>
              <a:gd name="T8" fmla="*/ 120 w 240"/>
              <a:gd name="T9" fmla="*/ 0 h 239"/>
              <a:gd name="T10" fmla="*/ 120 w 240"/>
              <a:gd name="T11" fmla="*/ 12 h 239"/>
              <a:gd name="T12" fmla="*/ 12 w 240"/>
              <a:gd name="T13" fmla="*/ 119 h 239"/>
              <a:gd name="T14" fmla="*/ 120 w 240"/>
              <a:gd name="T15" fmla="*/ 227 h 239"/>
              <a:gd name="T16" fmla="*/ 227 w 240"/>
              <a:gd name="T17" fmla="*/ 119 h 239"/>
              <a:gd name="T18" fmla="*/ 120 w 240"/>
              <a:gd name="T19" fmla="*/ 12 h 2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0" h="239">
                <a:moveTo>
                  <a:pt x="120" y="0"/>
                </a:moveTo>
                <a:cubicBezTo>
                  <a:pt x="186" y="0"/>
                  <a:pt x="240" y="53"/>
                  <a:pt x="240" y="119"/>
                </a:cubicBezTo>
                <a:cubicBezTo>
                  <a:pt x="240" y="186"/>
                  <a:pt x="186" y="239"/>
                  <a:pt x="120" y="239"/>
                </a:cubicBezTo>
                <a:cubicBezTo>
                  <a:pt x="54" y="239"/>
                  <a:pt x="0" y="186"/>
                  <a:pt x="0" y="119"/>
                </a:cubicBezTo>
                <a:cubicBezTo>
                  <a:pt x="0" y="53"/>
                  <a:pt x="54" y="0"/>
                  <a:pt x="120" y="0"/>
                </a:cubicBezTo>
                <a:close/>
                <a:moveTo>
                  <a:pt x="120" y="12"/>
                </a:moveTo>
                <a:cubicBezTo>
                  <a:pt x="61" y="12"/>
                  <a:pt x="12" y="60"/>
                  <a:pt x="12" y="119"/>
                </a:cubicBezTo>
                <a:cubicBezTo>
                  <a:pt x="12" y="179"/>
                  <a:pt x="61" y="227"/>
                  <a:pt x="120" y="227"/>
                </a:cubicBezTo>
                <a:cubicBezTo>
                  <a:pt x="179" y="227"/>
                  <a:pt x="227" y="179"/>
                  <a:pt x="227" y="119"/>
                </a:cubicBezTo>
                <a:cubicBezTo>
                  <a:pt x="227" y="60"/>
                  <a:pt x="179" y="12"/>
                  <a:pt x="120" y="12"/>
                </a:cubicBezTo>
                <a:close/>
              </a:path>
            </a:pathLst>
          </a:custGeom>
          <a:solidFill>
            <a:srgbClr val="86BC2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34" name="Freeform 134">
            <a:extLst>
              <a:ext uri="{FF2B5EF4-FFF2-40B4-BE49-F238E27FC236}">
                <a16:creationId xmlns:a16="http://schemas.microsoft.com/office/drawing/2014/main" id="{88E7D19B-238D-D440-A92C-0DB0EBF9176D}"/>
              </a:ext>
            </a:extLst>
          </p:cNvPr>
          <p:cNvSpPr>
            <a:spLocks/>
          </p:cNvSpPr>
          <p:nvPr/>
        </p:nvSpPr>
        <p:spPr bwMode="auto">
          <a:xfrm>
            <a:off x="5689568" y="2292255"/>
            <a:ext cx="1172550" cy="468123"/>
          </a:xfrm>
          <a:custGeom>
            <a:avLst/>
            <a:gdLst>
              <a:gd name="T0" fmla="*/ 16 w 645"/>
              <a:gd name="T1" fmla="*/ 31 h 278"/>
              <a:gd name="T2" fmla="*/ 31 w 645"/>
              <a:gd name="T3" fmla="*/ 17 h 278"/>
              <a:gd name="T4" fmla="*/ 387 w 645"/>
              <a:gd name="T5" fmla="*/ 17 h 278"/>
              <a:gd name="T6" fmla="*/ 387 w 645"/>
              <a:gd name="T7" fmla="*/ 266 h 278"/>
              <a:gd name="T8" fmla="*/ 614 w 645"/>
              <a:gd name="T9" fmla="*/ 266 h 278"/>
              <a:gd name="T10" fmla="*/ 630 w 645"/>
              <a:gd name="T11" fmla="*/ 278 h 278"/>
              <a:gd name="T12" fmla="*/ 645 w 645"/>
              <a:gd name="T13" fmla="*/ 263 h 278"/>
              <a:gd name="T14" fmla="*/ 630 w 645"/>
              <a:gd name="T15" fmla="*/ 247 h 278"/>
              <a:gd name="T16" fmla="*/ 614 w 645"/>
              <a:gd name="T17" fmla="*/ 259 h 278"/>
              <a:gd name="T18" fmla="*/ 393 w 645"/>
              <a:gd name="T19" fmla="*/ 259 h 278"/>
              <a:gd name="T20" fmla="*/ 393 w 645"/>
              <a:gd name="T21" fmla="*/ 10 h 278"/>
              <a:gd name="T22" fmla="*/ 30 w 645"/>
              <a:gd name="T23" fmla="*/ 10 h 278"/>
              <a:gd name="T24" fmla="*/ 16 w 645"/>
              <a:gd name="T25" fmla="*/ 0 h 278"/>
              <a:gd name="T26" fmla="*/ 0 w 645"/>
              <a:gd name="T27" fmla="*/ 15 h 278"/>
              <a:gd name="T28" fmla="*/ 16 w 645"/>
              <a:gd name="T29" fmla="*/ 31 h 2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645" h="278">
                <a:moveTo>
                  <a:pt x="16" y="31"/>
                </a:moveTo>
                <a:cubicBezTo>
                  <a:pt x="24" y="31"/>
                  <a:pt x="30" y="25"/>
                  <a:pt x="31" y="17"/>
                </a:cubicBezTo>
                <a:cubicBezTo>
                  <a:pt x="387" y="17"/>
                  <a:pt x="387" y="17"/>
                  <a:pt x="387" y="17"/>
                </a:cubicBezTo>
                <a:cubicBezTo>
                  <a:pt x="387" y="266"/>
                  <a:pt x="387" y="266"/>
                  <a:pt x="387" y="266"/>
                </a:cubicBezTo>
                <a:cubicBezTo>
                  <a:pt x="614" y="266"/>
                  <a:pt x="614" y="266"/>
                  <a:pt x="614" y="266"/>
                </a:cubicBezTo>
                <a:cubicBezTo>
                  <a:pt x="616" y="273"/>
                  <a:pt x="622" y="278"/>
                  <a:pt x="630" y="278"/>
                </a:cubicBezTo>
                <a:cubicBezTo>
                  <a:pt x="638" y="278"/>
                  <a:pt x="645" y="271"/>
                  <a:pt x="645" y="263"/>
                </a:cubicBezTo>
                <a:cubicBezTo>
                  <a:pt x="645" y="254"/>
                  <a:pt x="638" y="247"/>
                  <a:pt x="630" y="247"/>
                </a:cubicBezTo>
                <a:cubicBezTo>
                  <a:pt x="622" y="247"/>
                  <a:pt x="616" y="252"/>
                  <a:pt x="614" y="259"/>
                </a:cubicBezTo>
                <a:cubicBezTo>
                  <a:pt x="393" y="259"/>
                  <a:pt x="393" y="259"/>
                  <a:pt x="393" y="259"/>
                </a:cubicBezTo>
                <a:cubicBezTo>
                  <a:pt x="393" y="10"/>
                  <a:pt x="393" y="10"/>
                  <a:pt x="393" y="10"/>
                </a:cubicBezTo>
                <a:cubicBezTo>
                  <a:pt x="30" y="10"/>
                  <a:pt x="30" y="10"/>
                  <a:pt x="30" y="10"/>
                </a:cubicBezTo>
                <a:cubicBezTo>
                  <a:pt x="28" y="4"/>
                  <a:pt x="23" y="0"/>
                  <a:pt x="16" y="0"/>
                </a:cubicBezTo>
                <a:cubicBezTo>
                  <a:pt x="7" y="0"/>
                  <a:pt x="0" y="7"/>
                  <a:pt x="0" y="15"/>
                </a:cubicBezTo>
                <a:cubicBezTo>
                  <a:pt x="0" y="24"/>
                  <a:pt x="7" y="31"/>
                  <a:pt x="16" y="31"/>
                </a:cubicBezTo>
                <a:close/>
              </a:path>
            </a:pathLst>
          </a:custGeom>
          <a:solidFill>
            <a:srgbClr val="BBBCB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35" name="Freeform 176">
            <a:extLst>
              <a:ext uri="{FF2B5EF4-FFF2-40B4-BE49-F238E27FC236}">
                <a16:creationId xmlns:a16="http://schemas.microsoft.com/office/drawing/2014/main" id="{9B404E82-D985-3049-9E33-54620171669B}"/>
              </a:ext>
            </a:extLst>
          </p:cNvPr>
          <p:cNvSpPr>
            <a:spLocks/>
          </p:cNvSpPr>
          <p:nvPr/>
        </p:nvSpPr>
        <p:spPr bwMode="auto">
          <a:xfrm>
            <a:off x="5691024" y="3856221"/>
            <a:ext cx="1340057" cy="467221"/>
          </a:xfrm>
          <a:custGeom>
            <a:avLst/>
            <a:gdLst>
              <a:gd name="T0" fmla="*/ 15 w 737"/>
              <a:gd name="T1" fmla="*/ 247 h 278"/>
              <a:gd name="T2" fmla="*/ 31 w 737"/>
              <a:gd name="T3" fmla="*/ 261 h 278"/>
              <a:gd name="T4" fmla="*/ 479 w 737"/>
              <a:gd name="T5" fmla="*/ 261 h 278"/>
              <a:gd name="T6" fmla="*/ 479 w 737"/>
              <a:gd name="T7" fmla="*/ 13 h 278"/>
              <a:gd name="T8" fmla="*/ 706 w 737"/>
              <a:gd name="T9" fmla="*/ 13 h 278"/>
              <a:gd name="T10" fmla="*/ 722 w 737"/>
              <a:gd name="T11" fmla="*/ 0 h 278"/>
              <a:gd name="T12" fmla="*/ 737 w 737"/>
              <a:gd name="T13" fmla="*/ 16 h 278"/>
              <a:gd name="T14" fmla="*/ 722 w 737"/>
              <a:gd name="T15" fmla="*/ 31 h 278"/>
              <a:gd name="T16" fmla="*/ 706 w 737"/>
              <a:gd name="T17" fmla="*/ 19 h 278"/>
              <a:gd name="T18" fmla="*/ 485 w 737"/>
              <a:gd name="T19" fmla="*/ 19 h 278"/>
              <a:gd name="T20" fmla="*/ 485 w 737"/>
              <a:gd name="T21" fmla="*/ 268 h 278"/>
              <a:gd name="T22" fmla="*/ 30 w 737"/>
              <a:gd name="T23" fmla="*/ 268 h 278"/>
              <a:gd name="T24" fmla="*/ 15 w 737"/>
              <a:gd name="T25" fmla="*/ 278 h 278"/>
              <a:gd name="T26" fmla="*/ 0 w 737"/>
              <a:gd name="T27" fmla="*/ 263 h 278"/>
              <a:gd name="T28" fmla="*/ 15 w 737"/>
              <a:gd name="T29" fmla="*/ 247 h 2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737" h="278">
                <a:moveTo>
                  <a:pt x="15" y="247"/>
                </a:moveTo>
                <a:cubicBezTo>
                  <a:pt x="24" y="247"/>
                  <a:pt x="30" y="253"/>
                  <a:pt x="31" y="261"/>
                </a:cubicBezTo>
                <a:cubicBezTo>
                  <a:pt x="479" y="261"/>
                  <a:pt x="479" y="261"/>
                  <a:pt x="479" y="261"/>
                </a:cubicBezTo>
                <a:cubicBezTo>
                  <a:pt x="479" y="13"/>
                  <a:pt x="479" y="13"/>
                  <a:pt x="479" y="13"/>
                </a:cubicBezTo>
                <a:cubicBezTo>
                  <a:pt x="706" y="13"/>
                  <a:pt x="706" y="13"/>
                  <a:pt x="706" y="13"/>
                </a:cubicBezTo>
                <a:cubicBezTo>
                  <a:pt x="708" y="5"/>
                  <a:pt x="714" y="0"/>
                  <a:pt x="722" y="0"/>
                </a:cubicBezTo>
                <a:cubicBezTo>
                  <a:pt x="730" y="0"/>
                  <a:pt x="737" y="7"/>
                  <a:pt x="737" y="16"/>
                </a:cubicBezTo>
                <a:cubicBezTo>
                  <a:pt x="737" y="24"/>
                  <a:pt x="730" y="31"/>
                  <a:pt x="722" y="31"/>
                </a:cubicBezTo>
                <a:cubicBezTo>
                  <a:pt x="714" y="31"/>
                  <a:pt x="708" y="26"/>
                  <a:pt x="706" y="19"/>
                </a:cubicBezTo>
                <a:cubicBezTo>
                  <a:pt x="485" y="19"/>
                  <a:pt x="485" y="19"/>
                  <a:pt x="485" y="19"/>
                </a:cubicBezTo>
                <a:cubicBezTo>
                  <a:pt x="485" y="268"/>
                  <a:pt x="485" y="268"/>
                  <a:pt x="485" y="268"/>
                </a:cubicBezTo>
                <a:cubicBezTo>
                  <a:pt x="30" y="268"/>
                  <a:pt x="30" y="268"/>
                  <a:pt x="30" y="268"/>
                </a:cubicBezTo>
                <a:cubicBezTo>
                  <a:pt x="28" y="274"/>
                  <a:pt x="23" y="278"/>
                  <a:pt x="15" y="278"/>
                </a:cubicBezTo>
                <a:cubicBezTo>
                  <a:pt x="8" y="278"/>
                  <a:pt x="0" y="271"/>
                  <a:pt x="0" y="263"/>
                </a:cubicBezTo>
                <a:cubicBezTo>
                  <a:pt x="0" y="254"/>
                  <a:pt x="7" y="247"/>
                  <a:pt x="15" y="247"/>
                </a:cubicBezTo>
                <a:close/>
              </a:path>
            </a:pathLst>
          </a:custGeom>
          <a:solidFill>
            <a:srgbClr val="BBBCB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36" name="Freeform 219">
            <a:extLst>
              <a:ext uri="{FF2B5EF4-FFF2-40B4-BE49-F238E27FC236}">
                <a16:creationId xmlns:a16="http://schemas.microsoft.com/office/drawing/2014/main" id="{26EDF01B-DA90-664F-B13C-9D50DE3DB84C}"/>
              </a:ext>
            </a:extLst>
          </p:cNvPr>
          <p:cNvSpPr>
            <a:spLocks/>
          </p:cNvSpPr>
          <p:nvPr/>
        </p:nvSpPr>
        <p:spPr bwMode="auto">
          <a:xfrm>
            <a:off x="2747650" y="3193207"/>
            <a:ext cx="854576" cy="265082"/>
          </a:xfrm>
          <a:custGeom>
            <a:avLst/>
            <a:gdLst>
              <a:gd name="T0" fmla="*/ 722 w 738"/>
              <a:gd name="T1" fmla="*/ 247 h 278"/>
              <a:gd name="T2" fmla="*/ 706 w 738"/>
              <a:gd name="T3" fmla="*/ 261 h 278"/>
              <a:gd name="T4" fmla="*/ 258 w 738"/>
              <a:gd name="T5" fmla="*/ 261 h 278"/>
              <a:gd name="T6" fmla="*/ 258 w 738"/>
              <a:gd name="T7" fmla="*/ 12 h 278"/>
              <a:gd name="T8" fmla="*/ 31 w 738"/>
              <a:gd name="T9" fmla="*/ 12 h 278"/>
              <a:gd name="T10" fmla="*/ 16 w 738"/>
              <a:gd name="T11" fmla="*/ 0 h 278"/>
              <a:gd name="T12" fmla="*/ 0 w 738"/>
              <a:gd name="T13" fmla="*/ 15 h 278"/>
              <a:gd name="T14" fmla="*/ 16 w 738"/>
              <a:gd name="T15" fmla="*/ 31 h 278"/>
              <a:gd name="T16" fmla="*/ 31 w 738"/>
              <a:gd name="T17" fmla="*/ 19 h 278"/>
              <a:gd name="T18" fmla="*/ 252 w 738"/>
              <a:gd name="T19" fmla="*/ 19 h 278"/>
              <a:gd name="T20" fmla="*/ 252 w 738"/>
              <a:gd name="T21" fmla="*/ 267 h 278"/>
              <a:gd name="T22" fmla="*/ 707 w 738"/>
              <a:gd name="T23" fmla="*/ 267 h 278"/>
              <a:gd name="T24" fmla="*/ 722 w 738"/>
              <a:gd name="T25" fmla="*/ 278 h 278"/>
              <a:gd name="T26" fmla="*/ 738 w 738"/>
              <a:gd name="T27" fmla="*/ 262 h 278"/>
              <a:gd name="T28" fmla="*/ 722 w 738"/>
              <a:gd name="T29" fmla="*/ 247 h 2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738" h="278">
                <a:moveTo>
                  <a:pt x="722" y="247"/>
                </a:moveTo>
                <a:cubicBezTo>
                  <a:pt x="713" y="247"/>
                  <a:pt x="707" y="253"/>
                  <a:pt x="706" y="261"/>
                </a:cubicBezTo>
                <a:cubicBezTo>
                  <a:pt x="258" y="261"/>
                  <a:pt x="258" y="261"/>
                  <a:pt x="258" y="261"/>
                </a:cubicBezTo>
                <a:cubicBezTo>
                  <a:pt x="258" y="12"/>
                  <a:pt x="258" y="12"/>
                  <a:pt x="258" y="12"/>
                </a:cubicBezTo>
                <a:cubicBezTo>
                  <a:pt x="31" y="12"/>
                  <a:pt x="31" y="12"/>
                  <a:pt x="31" y="12"/>
                </a:cubicBezTo>
                <a:cubicBezTo>
                  <a:pt x="30" y="5"/>
                  <a:pt x="23" y="0"/>
                  <a:pt x="16" y="0"/>
                </a:cubicBezTo>
                <a:cubicBezTo>
                  <a:pt x="7" y="0"/>
                  <a:pt x="0" y="7"/>
                  <a:pt x="0" y="15"/>
                </a:cubicBezTo>
                <a:cubicBezTo>
                  <a:pt x="0" y="24"/>
                  <a:pt x="7" y="31"/>
                  <a:pt x="16" y="31"/>
                </a:cubicBezTo>
                <a:cubicBezTo>
                  <a:pt x="23" y="31"/>
                  <a:pt x="29" y="26"/>
                  <a:pt x="31" y="19"/>
                </a:cubicBezTo>
                <a:cubicBezTo>
                  <a:pt x="252" y="19"/>
                  <a:pt x="252" y="19"/>
                  <a:pt x="252" y="19"/>
                </a:cubicBezTo>
                <a:cubicBezTo>
                  <a:pt x="252" y="267"/>
                  <a:pt x="252" y="267"/>
                  <a:pt x="252" y="267"/>
                </a:cubicBezTo>
                <a:cubicBezTo>
                  <a:pt x="707" y="267"/>
                  <a:pt x="707" y="267"/>
                  <a:pt x="707" y="267"/>
                </a:cubicBezTo>
                <a:cubicBezTo>
                  <a:pt x="709" y="274"/>
                  <a:pt x="714" y="278"/>
                  <a:pt x="722" y="278"/>
                </a:cubicBezTo>
                <a:cubicBezTo>
                  <a:pt x="730" y="278"/>
                  <a:pt x="738" y="271"/>
                  <a:pt x="738" y="262"/>
                </a:cubicBezTo>
                <a:cubicBezTo>
                  <a:pt x="738" y="254"/>
                  <a:pt x="730" y="247"/>
                  <a:pt x="722" y="247"/>
                </a:cubicBezTo>
                <a:close/>
              </a:path>
            </a:pathLst>
          </a:custGeom>
          <a:solidFill>
            <a:srgbClr val="BBBCB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37" name="Freeform 279">
            <a:extLst>
              <a:ext uri="{FF2B5EF4-FFF2-40B4-BE49-F238E27FC236}">
                <a16:creationId xmlns:a16="http://schemas.microsoft.com/office/drawing/2014/main" id="{B74FAC3D-23C7-B446-BAC2-872043E34F6B}"/>
              </a:ext>
            </a:extLst>
          </p:cNvPr>
          <p:cNvSpPr>
            <a:spLocks/>
          </p:cNvSpPr>
          <p:nvPr/>
        </p:nvSpPr>
        <p:spPr bwMode="auto">
          <a:xfrm>
            <a:off x="3823011" y="1963956"/>
            <a:ext cx="1935098" cy="2609401"/>
          </a:xfrm>
          <a:custGeom>
            <a:avLst/>
            <a:gdLst>
              <a:gd name="T0" fmla="*/ 1028 w 1064"/>
              <a:gd name="T1" fmla="*/ 307 h 1551"/>
              <a:gd name="T2" fmla="*/ 1028 w 1064"/>
              <a:gd name="T3" fmla="*/ 405 h 1551"/>
              <a:gd name="T4" fmla="*/ 494 w 1064"/>
              <a:gd name="T5" fmla="*/ 1330 h 1551"/>
              <a:gd name="T6" fmla="*/ 56 w 1064"/>
              <a:gd name="T7" fmla="*/ 1077 h 1551"/>
              <a:gd name="T8" fmla="*/ 591 w 1064"/>
              <a:gd name="T9" fmla="*/ 152 h 1551"/>
              <a:gd name="T10" fmla="*/ 970 w 1064"/>
              <a:gd name="T11" fmla="*/ 139 h 1551"/>
              <a:gd name="T12" fmla="*/ 1000 w 1064"/>
              <a:gd name="T13" fmla="*/ 123 h 1551"/>
              <a:gd name="T14" fmla="*/ 572 w 1064"/>
              <a:gd name="T15" fmla="*/ 124 h 1551"/>
              <a:gd name="T16" fmla="*/ 23 w 1064"/>
              <a:gd name="T17" fmla="*/ 1075 h 1551"/>
              <a:gd name="T18" fmla="*/ 513 w 1064"/>
              <a:gd name="T19" fmla="*/ 1358 h 1551"/>
              <a:gd name="T20" fmla="*/ 1062 w 1064"/>
              <a:gd name="T21" fmla="*/ 407 h 1551"/>
              <a:gd name="T22" fmla="*/ 1061 w 1064"/>
              <a:gd name="T23" fmla="*/ 301 h 1551"/>
              <a:gd name="T24" fmla="*/ 1028 w 1064"/>
              <a:gd name="T25" fmla="*/ 307 h 15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64" h="1551">
                <a:moveTo>
                  <a:pt x="1028" y="307"/>
                </a:moveTo>
                <a:cubicBezTo>
                  <a:pt x="1030" y="337"/>
                  <a:pt x="1031" y="370"/>
                  <a:pt x="1028" y="405"/>
                </a:cubicBezTo>
                <a:cubicBezTo>
                  <a:pt x="1007" y="733"/>
                  <a:pt x="767" y="1148"/>
                  <a:pt x="494" y="1330"/>
                </a:cubicBezTo>
                <a:cubicBezTo>
                  <a:pt x="228" y="1508"/>
                  <a:pt x="36" y="1396"/>
                  <a:pt x="56" y="1077"/>
                </a:cubicBezTo>
                <a:cubicBezTo>
                  <a:pt x="77" y="750"/>
                  <a:pt x="317" y="334"/>
                  <a:pt x="591" y="152"/>
                </a:cubicBezTo>
                <a:cubicBezTo>
                  <a:pt x="757" y="41"/>
                  <a:pt x="895" y="43"/>
                  <a:pt x="970" y="139"/>
                </a:cubicBezTo>
                <a:cubicBezTo>
                  <a:pt x="979" y="132"/>
                  <a:pt x="989" y="127"/>
                  <a:pt x="1000" y="123"/>
                </a:cubicBezTo>
                <a:cubicBezTo>
                  <a:pt x="916" y="9"/>
                  <a:pt x="758" y="0"/>
                  <a:pt x="572" y="124"/>
                </a:cubicBezTo>
                <a:cubicBezTo>
                  <a:pt x="290" y="312"/>
                  <a:pt x="45" y="737"/>
                  <a:pt x="23" y="1075"/>
                </a:cubicBezTo>
                <a:cubicBezTo>
                  <a:pt x="0" y="1422"/>
                  <a:pt x="224" y="1551"/>
                  <a:pt x="513" y="1358"/>
                </a:cubicBezTo>
                <a:cubicBezTo>
                  <a:pt x="795" y="1170"/>
                  <a:pt x="1040" y="745"/>
                  <a:pt x="1062" y="407"/>
                </a:cubicBezTo>
                <a:cubicBezTo>
                  <a:pt x="1064" y="369"/>
                  <a:pt x="1064" y="334"/>
                  <a:pt x="1061" y="301"/>
                </a:cubicBezTo>
                <a:cubicBezTo>
                  <a:pt x="1050" y="305"/>
                  <a:pt x="1039" y="307"/>
                  <a:pt x="1028" y="307"/>
                </a:cubicBezTo>
                <a:close/>
              </a:path>
            </a:pathLst>
          </a:custGeom>
          <a:solidFill>
            <a:srgbClr val="00ABA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38" name="Freeform 280">
            <a:extLst>
              <a:ext uri="{FF2B5EF4-FFF2-40B4-BE49-F238E27FC236}">
                <a16:creationId xmlns:a16="http://schemas.microsoft.com/office/drawing/2014/main" id="{0F44FCB0-E3DA-714B-85CB-25EDA5F2F4E4}"/>
              </a:ext>
            </a:extLst>
          </p:cNvPr>
          <p:cNvSpPr>
            <a:spLocks/>
          </p:cNvSpPr>
          <p:nvPr/>
        </p:nvSpPr>
        <p:spPr bwMode="auto">
          <a:xfrm>
            <a:off x="3571063" y="2661491"/>
            <a:ext cx="2960592" cy="1456683"/>
          </a:xfrm>
          <a:custGeom>
            <a:avLst/>
            <a:gdLst>
              <a:gd name="T0" fmla="*/ 1318 w 1628"/>
              <a:gd name="T1" fmla="*/ 150 h 866"/>
              <a:gd name="T2" fmla="*/ 219 w 1628"/>
              <a:gd name="T3" fmla="*/ 150 h 866"/>
              <a:gd name="T4" fmla="*/ 0 w 1628"/>
              <a:gd name="T5" fmla="*/ 357 h 866"/>
              <a:gd name="T6" fmla="*/ 2 w 1628"/>
              <a:gd name="T7" fmla="*/ 357 h 866"/>
              <a:gd name="T8" fmla="*/ 34 w 1628"/>
              <a:gd name="T9" fmla="*/ 364 h 866"/>
              <a:gd name="T10" fmla="*/ 234 w 1628"/>
              <a:gd name="T11" fmla="*/ 180 h 866"/>
              <a:gd name="T12" fmla="*/ 1303 w 1628"/>
              <a:gd name="T13" fmla="*/ 180 h 866"/>
              <a:gd name="T14" fmla="*/ 1303 w 1628"/>
              <a:gd name="T15" fmla="*/ 686 h 866"/>
              <a:gd name="T16" fmla="*/ 234 w 1628"/>
              <a:gd name="T17" fmla="*/ 686 h 866"/>
              <a:gd name="T18" fmla="*/ 34 w 1628"/>
              <a:gd name="T19" fmla="*/ 502 h 866"/>
              <a:gd name="T20" fmla="*/ 2 w 1628"/>
              <a:gd name="T21" fmla="*/ 509 h 866"/>
              <a:gd name="T22" fmla="*/ 0 w 1628"/>
              <a:gd name="T23" fmla="*/ 509 h 866"/>
              <a:gd name="T24" fmla="*/ 219 w 1628"/>
              <a:gd name="T25" fmla="*/ 716 h 866"/>
              <a:gd name="T26" fmla="*/ 1318 w 1628"/>
              <a:gd name="T27" fmla="*/ 716 h 866"/>
              <a:gd name="T28" fmla="*/ 1318 w 1628"/>
              <a:gd name="T29" fmla="*/ 150 h 8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628" h="866">
                <a:moveTo>
                  <a:pt x="1318" y="150"/>
                </a:moveTo>
                <a:cubicBezTo>
                  <a:pt x="1014" y="0"/>
                  <a:pt x="523" y="0"/>
                  <a:pt x="219" y="150"/>
                </a:cubicBezTo>
                <a:cubicBezTo>
                  <a:pt x="102" y="208"/>
                  <a:pt x="29" y="281"/>
                  <a:pt x="0" y="357"/>
                </a:cubicBezTo>
                <a:cubicBezTo>
                  <a:pt x="1" y="357"/>
                  <a:pt x="2" y="357"/>
                  <a:pt x="2" y="357"/>
                </a:cubicBezTo>
                <a:cubicBezTo>
                  <a:pt x="14" y="357"/>
                  <a:pt x="24" y="359"/>
                  <a:pt x="34" y="364"/>
                </a:cubicBezTo>
                <a:cubicBezTo>
                  <a:pt x="61" y="297"/>
                  <a:pt x="128" y="233"/>
                  <a:pt x="234" y="180"/>
                </a:cubicBezTo>
                <a:cubicBezTo>
                  <a:pt x="529" y="35"/>
                  <a:pt x="1008" y="35"/>
                  <a:pt x="1303" y="180"/>
                </a:cubicBezTo>
                <a:cubicBezTo>
                  <a:pt x="1588" y="321"/>
                  <a:pt x="1588" y="545"/>
                  <a:pt x="1303" y="686"/>
                </a:cubicBezTo>
                <a:cubicBezTo>
                  <a:pt x="1008" y="832"/>
                  <a:pt x="529" y="832"/>
                  <a:pt x="234" y="686"/>
                </a:cubicBezTo>
                <a:cubicBezTo>
                  <a:pt x="128" y="633"/>
                  <a:pt x="61" y="569"/>
                  <a:pt x="34" y="502"/>
                </a:cubicBezTo>
                <a:cubicBezTo>
                  <a:pt x="24" y="507"/>
                  <a:pt x="14" y="509"/>
                  <a:pt x="2" y="509"/>
                </a:cubicBezTo>
                <a:cubicBezTo>
                  <a:pt x="2" y="509"/>
                  <a:pt x="1" y="509"/>
                  <a:pt x="0" y="509"/>
                </a:cubicBezTo>
                <a:cubicBezTo>
                  <a:pt x="29" y="586"/>
                  <a:pt x="102" y="658"/>
                  <a:pt x="219" y="716"/>
                </a:cubicBezTo>
                <a:cubicBezTo>
                  <a:pt x="523" y="866"/>
                  <a:pt x="1014" y="866"/>
                  <a:pt x="1318" y="716"/>
                </a:cubicBezTo>
                <a:cubicBezTo>
                  <a:pt x="1628" y="562"/>
                  <a:pt x="1628" y="304"/>
                  <a:pt x="1318" y="15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39" name="文本框 337">
            <a:extLst>
              <a:ext uri="{FF2B5EF4-FFF2-40B4-BE49-F238E27FC236}">
                <a16:creationId xmlns:a16="http://schemas.microsoft.com/office/drawing/2014/main" id="{2C1F93CD-E5D8-E946-BC04-EB789263D3AD}"/>
              </a:ext>
            </a:extLst>
          </p:cNvPr>
          <p:cNvSpPr txBox="1"/>
          <p:nvPr/>
        </p:nvSpPr>
        <p:spPr>
          <a:xfrm>
            <a:off x="1809076" y="3099882"/>
            <a:ext cx="1347704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03200" marR="0" lvl="0" indent="-2032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/>
            </a:pPr>
            <a:r>
              <a:rPr kumimoji="0" lang="es-VE" altLang="zh-CN" sz="140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atos maestros </a:t>
            </a:r>
            <a:r>
              <a:rPr lang="es-VE" altLang="zh-CN" sz="1400" dirty="0" smtClean="0">
                <a:solidFill>
                  <a:prstClr val="black"/>
                </a:solidFill>
              </a:rPr>
              <a:t>plan de cuenta</a:t>
            </a:r>
            <a:endParaRPr kumimoji="0" lang="zh-CN" altLang="en-US" sz="14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203200" marR="0" lvl="0" indent="-2032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/>
            </a:pP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03200" marR="0" lvl="0" indent="-2032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0" name="文本框 338">
            <a:extLst>
              <a:ext uri="{FF2B5EF4-FFF2-40B4-BE49-F238E27FC236}">
                <a16:creationId xmlns:a16="http://schemas.microsoft.com/office/drawing/2014/main" id="{3C92380F-CD14-0849-A9F8-108A7C9FFCD8}"/>
              </a:ext>
            </a:extLst>
          </p:cNvPr>
          <p:cNvSpPr txBox="1"/>
          <p:nvPr/>
        </p:nvSpPr>
        <p:spPr>
          <a:xfrm>
            <a:off x="7070837" y="3782018"/>
            <a:ext cx="166922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03200" marR="0" lvl="0" indent="-2032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/>
            </a:pPr>
            <a:r>
              <a:rPr kumimoji="0" lang="en-US" altLang="zh-CN" sz="140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Pruebas</a:t>
            </a:r>
            <a:r>
              <a:rPr kumimoji="0" lang="en-US" altLang="zh-CN" sz="140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altLang="zh-CN" sz="140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Integrales</a:t>
            </a:r>
            <a:endParaRPr kumimoji="0" lang="en-US" altLang="zh-CN" sz="14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1" name="文本框 339">
            <a:extLst>
              <a:ext uri="{FF2B5EF4-FFF2-40B4-BE49-F238E27FC236}">
                <a16:creationId xmlns:a16="http://schemas.microsoft.com/office/drawing/2014/main" id="{90793AD6-E764-EE4F-A440-D4B6B2C857B2}"/>
              </a:ext>
            </a:extLst>
          </p:cNvPr>
          <p:cNvSpPr txBox="1"/>
          <p:nvPr/>
        </p:nvSpPr>
        <p:spPr>
          <a:xfrm>
            <a:off x="6932692" y="2606192"/>
            <a:ext cx="1518931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03200" lvl="0" indent="-203200">
              <a:spcBef>
                <a:spcPts val="600"/>
              </a:spcBef>
              <a:buSzPct val="100000"/>
              <a:buFont typeface="Arial"/>
              <a:buChar char="•"/>
              <a:defRPr/>
            </a:pPr>
            <a:r>
              <a:rPr lang="es-VE" altLang="zh-CN" sz="1400" dirty="0">
                <a:solidFill>
                  <a:prstClr val="black"/>
                </a:solidFill>
              </a:rPr>
              <a:t>Datos maestros </a:t>
            </a:r>
            <a:r>
              <a:rPr lang="es-VE" altLang="zh-CN" sz="1400" dirty="0" smtClean="0">
                <a:solidFill>
                  <a:prstClr val="black"/>
                </a:solidFill>
              </a:rPr>
              <a:t>socios </a:t>
            </a:r>
            <a:r>
              <a:rPr lang="es-VE" altLang="zh-CN" sz="1400" dirty="0">
                <a:solidFill>
                  <a:prstClr val="black"/>
                </a:solidFill>
              </a:rPr>
              <a:t>de negocios</a:t>
            </a:r>
            <a:endParaRPr lang="zh-CN" altLang="en-US" sz="1400" dirty="0">
              <a:solidFill>
                <a:prstClr val="black"/>
              </a:solidFill>
            </a:endParaRPr>
          </a:p>
        </p:txBody>
      </p:sp>
      <p:sp>
        <p:nvSpPr>
          <p:cNvPr id="142" name="Isosceles Triangle 141"/>
          <p:cNvSpPr/>
          <p:nvPr/>
        </p:nvSpPr>
        <p:spPr>
          <a:xfrm>
            <a:off x="1768773" y="4657640"/>
            <a:ext cx="6511636" cy="369455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VE"/>
          </a:p>
        </p:txBody>
      </p:sp>
      <p:sp>
        <p:nvSpPr>
          <p:cNvPr id="153" name="Text Placeholder 8"/>
          <p:cNvSpPr txBox="1">
            <a:spLocks/>
          </p:cNvSpPr>
          <p:nvPr/>
        </p:nvSpPr>
        <p:spPr>
          <a:xfrm>
            <a:off x="463273" y="2136736"/>
            <a:ext cx="7137399" cy="28840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64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r>
              <a:rPr lang="es-419" sz="1600" dirty="0" smtClean="0">
                <a:solidFill>
                  <a:schemeClr val="accent4"/>
                </a:solidFill>
                <a:latin typeface="Verdana"/>
              </a:rPr>
              <a:t>Realización</a:t>
            </a:r>
            <a:endParaRPr lang="es-419" sz="1600" dirty="0">
              <a:solidFill>
                <a:schemeClr val="accent4"/>
              </a:solidFill>
              <a:latin typeface="Verdana"/>
            </a:endParaRPr>
          </a:p>
        </p:txBody>
      </p:sp>
      <p:grpSp>
        <p:nvGrpSpPr>
          <p:cNvPr id="32" name="Graphic 4">
            <a:extLst>
              <a:ext uri="{FF2B5EF4-FFF2-40B4-BE49-F238E27FC236}">
                <a16:creationId xmlns:a16="http://schemas.microsoft.com/office/drawing/2014/main" id="{683A0934-DC58-2B43-89EB-7E042712AD05}"/>
              </a:ext>
            </a:extLst>
          </p:cNvPr>
          <p:cNvGrpSpPr>
            <a:grpSpLocks/>
          </p:cNvGrpSpPr>
          <p:nvPr/>
        </p:nvGrpSpPr>
        <p:grpSpPr>
          <a:xfrm>
            <a:off x="451316" y="2520257"/>
            <a:ext cx="824400" cy="802800"/>
            <a:chOff x="1952125" y="2371173"/>
            <a:chExt cx="362313" cy="361971"/>
          </a:xfrm>
          <a:solidFill>
            <a:schemeClr val="accent2"/>
          </a:solidFill>
        </p:grpSpPr>
        <p:sp>
          <p:nvSpPr>
            <p:cNvPr id="34" name="Graphic 4">
              <a:extLst>
                <a:ext uri="{FF2B5EF4-FFF2-40B4-BE49-F238E27FC236}">
                  <a16:creationId xmlns:a16="http://schemas.microsoft.com/office/drawing/2014/main" id="{7710A5A0-1CD3-B543-A504-A2B3C4631B9A}"/>
                </a:ext>
              </a:extLst>
            </p:cNvPr>
            <p:cNvSpPr/>
            <p:nvPr/>
          </p:nvSpPr>
          <p:spPr>
            <a:xfrm>
              <a:off x="2148727" y="2570992"/>
              <a:ext cx="59368" cy="58941"/>
            </a:xfrm>
            <a:custGeom>
              <a:avLst/>
              <a:gdLst>
                <a:gd name="connsiteX0" fmla="*/ 34076 w 59368"/>
                <a:gd name="connsiteY0" fmla="*/ 0 h 58941"/>
                <a:gd name="connsiteX1" fmla="*/ 29603 w 59368"/>
                <a:gd name="connsiteY1" fmla="*/ 0 h 58941"/>
                <a:gd name="connsiteX2" fmla="*/ 11711 w 59368"/>
                <a:gd name="connsiteY2" fmla="*/ 5746 h 58941"/>
                <a:gd name="connsiteX3" fmla="*/ 209 w 59368"/>
                <a:gd name="connsiteY3" fmla="*/ 25536 h 58941"/>
                <a:gd name="connsiteX4" fmla="*/ 25769 w 59368"/>
                <a:gd name="connsiteY4" fmla="*/ 58733 h 58941"/>
                <a:gd name="connsiteX5" fmla="*/ 58996 w 59368"/>
                <a:gd name="connsiteY5" fmla="*/ 33197 h 58941"/>
                <a:gd name="connsiteX6" fmla="*/ 34076 w 59368"/>
                <a:gd name="connsiteY6" fmla="*/ 0 h 58941"/>
                <a:gd name="connsiteX7" fmla="*/ 34076 w 59368"/>
                <a:gd name="connsiteY7" fmla="*/ 0 h 58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368" h="58941">
                  <a:moveTo>
                    <a:pt x="34076" y="0"/>
                  </a:moveTo>
                  <a:cubicBezTo>
                    <a:pt x="32797" y="0"/>
                    <a:pt x="31520" y="0"/>
                    <a:pt x="29603" y="0"/>
                  </a:cubicBezTo>
                  <a:cubicBezTo>
                    <a:pt x="23213" y="0"/>
                    <a:pt x="16823" y="1915"/>
                    <a:pt x="11711" y="5746"/>
                  </a:cubicBezTo>
                  <a:cubicBezTo>
                    <a:pt x="5321" y="10214"/>
                    <a:pt x="1487" y="17237"/>
                    <a:pt x="209" y="25536"/>
                  </a:cubicBezTo>
                  <a:cubicBezTo>
                    <a:pt x="-1708" y="42134"/>
                    <a:pt x="9794" y="56817"/>
                    <a:pt x="25769" y="58733"/>
                  </a:cubicBezTo>
                  <a:cubicBezTo>
                    <a:pt x="41743" y="60648"/>
                    <a:pt x="57079" y="49157"/>
                    <a:pt x="58996" y="33197"/>
                  </a:cubicBezTo>
                  <a:cubicBezTo>
                    <a:pt x="61552" y="17237"/>
                    <a:pt x="50689" y="2554"/>
                    <a:pt x="34076" y="0"/>
                  </a:cubicBezTo>
                  <a:lnTo>
                    <a:pt x="34076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Graphic 4">
              <a:extLst>
                <a:ext uri="{FF2B5EF4-FFF2-40B4-BE49-F238E27FC236}">
                  <a16:creationId xmlns:a16="http://schemas.microsoft.com/office/drawing/2014/main" id="{61909DBE-88C3-3D4A-9D91-5C0A8D02D762}"/>
                </a:ext>
              </a:extLst>
            </p:cNvPr>
            <p:cNvSpPr/>
            <p:nvPr/>
          </p:nvSpPr>
          <p:spPr>
            <a:xfrm>
              <a:off x="2033278" y="2450973"/>
              <a:ext cx="108628" cy="105974"/>
            </a:xfrm>
            <a:custGeom>
              <a:avLst/>
              <a:gdLst>
                <a:gd name="connsiteX0" fmla="*/ 82430 w 108628"/>
                <a:gd name="connsiteY0" fmla="*/ 90653 h 105974"/>
                <a:gd name="connsiteX1" fmla="*/ 88820 w 108628"/>
                <a:gd name="connsiteY1" fmla="*/ 94483 h 105974"/>
                <a:gd name="connsiteX2" fmla="*/ 93932 w 108628"/>
                <a:gd name="connsiteY2" fmla="*/ 90014 h 105974"/>
                <a:gd name="connsiteX3" fmla="*/ 90737 w 108628"/>
                <a:gd name="connsiteY3" fmla="*/ 82992 h 105974"/>
                <a:gd name="connsiteX4" fmla="*/ 90737 w 108628"/>
                <a:gd name="connsiteY4" fmla="*/ 77246 h 105974"/>
                <a:gd name="connsiteX5" fmla="*/ 96488 w 108628"/>
                <a:gd name="connsiteY5" fmla="*/ 67032 h 105974"/>
                <a:gd name="connsiteX6" fmla="*/ 100961 w 108628"/>
                <a:gd name="connsiteY6" fmla="*/ 63840 h 105974"/>
                <a:gd name="connsiteX7" fmla="*/ 107990 w 108628"/>
                <a:gd name="connsiteY7" fmla="*/ 62563 h 105974"/>
                <a:gd name="connsiteX8" fmla="*/ 108629 w 108628"/>
                <a:gd name="connsiteY8" fmla="*/ 56179 h 105974"/>
                <a:gd name="connsiteX9" fmla="*/ 102239 w 108628"/>
                <a:gd name="connsiteY9" fmla="*/ 52987 h 105974"/>
                <a:gd name="connsiteX10" fmla="*/ 99044 w 108628"/>
                <a:gd name="connsiteY10" fmla="*/ 48518 h 105974"/>
                <a:gd name="connsiteX11" fmla="*/ 96488 w 108628"/>
                <a:gd name="connsiteY11" fmla="*/ 37027 h 105974"/>
                <a:gd name="connsiteX12" fmla="*/ 97766 w 108628"/>
                <a:gd name="connsiteY12" fmla="*/ 31920 h 105974"/>
                <a:gd name="connsiteX13" fmla="*/ 102239 w 108628"/>
                <a:gd name="connsiteY13" fmla="*/ 26174 h 105974"/>
                <a:gd name="connsiteX14" fmla="*/ 99044 w 108628"/>
                <a:gd name="connsiteY14" fmla="*/ 20429 h 105974"/>
                <a:gd name="connsiteX15" fmla="*/ 92015 w 108628"/>
                <a:gd name="connsiteY15" fmla="*/ 22344 h 105974"/>
                <a:gd name="connsiteX16" fmla="*/ 86903 w 108628"/>
                <a:gd name="connsiteY16" fmla="*/ 21067 h 105974"/>
                <a:gd name="connsiteX17" fmla="*/ 77318 w 108628"/>
                <a:gd name="connsiteY17" fmla="*/ 14045 h 105974"/>
                <a:gd name="connsiteX18" fmla="*/ 74762 w 108628"/>
                <a:gd name="connsiteY18" fmla="*/ 8938 h 105974"/>
                <a:gd name="connsiteX19" fmla="*/ 74762 w 108628"/>
                <a:gd name="connsiteY19" fmla="*/ 1915 h 105974"/>
                <a:gd name="connsiteX20" fmla="*/ 68372 w 108628"/>
                <a:gd name="connsiteY20" fmla="*/ 0 h 105974"/>
                <a:gd name="connsiteX21" fmla="*/ 63899 w 108628"/>
                <a:gd name="connsiteY21" fmla="*/ 5746 h 105974"/>
                <a:gd name="connsiteX22" fmla="*/ 58787 w 108628"/>
                <a:gd name="connsiteY22" fmla="*/ 8299 h 105974"/>
                <a:gd name="connsiteX23" fmla="*/ 46646 w 108628"/>
                <a:gd name="connsiteY23" fmla="*/ 8938 h 105974"/>
                <a:gd name="connsiteX24" fmla="*/ 41535 w 108628"/>
                <a:gd name="connsiteY24" fmla="*/ 7022 h 105974"/>
                <a:gd name="connsiteX25" fmla="*/ 36423 w 108628"/>
                <a:gd name="connsiteY25" fmla="*/ 1277 h 105974"/>
                <a:gd name="connsiteX26" fmla="*/ 30033 w 108628"/>
                <a:gd name="connsiteY26" fmla="*/ 3830 h 105974"/>
                <a:gd name="connsiteX27" fmla="*/ 30672 w 108628"/>
                <a:gd name="connsiteY27" fmla="*/ 10853 h 105974"/>
                <a:gd name="connsiteX28" fmla="*/ 28755 w 108628"/>
                <a:gd name="connsiteY28" fmla="*/ 15960 h 105974"/>
                <a:gd name="connsiteX29" fmla="*/ 19809 w 108628"/>
                <a:gd name="connsiteY29" fmla="*/ 23621 h 105974"/>
                <a:gd name="connsiteX30" fmla="*/ 14697 w 108628"/>
                <a:gd name="connsiteY30" fmla="*/ 24898 h 105974"/>
                <a:gd name="connsiteX31" fmla="*/ 7668 w 108628"/>
                <a:gd name="connsiteY31" fmla="*/ 23621 h 105974"/>
                <a:gd name="connsiteX32" fmla="*/ 4473 w 108628"/>
                <a:gd name="connsiteY32" fmla="*/ 29366 h 105974"/>
                <a:gd name="connsiteX33" fmla="*/ 9585 w 108628"/>
                <a:gd name="connsiteY33" fmla="*/ 34474 h 105974"/>
                <a:gd name="connsiteX34" fmla="*/ 11502 w 108628"/>
                <a:gd name="connsiteY34" fmla="*/ 39581 h 105974"/>
                <a:gd name="connsiteX35" fmla="*/ 9585 w 108628"/>
                <a:gd name="connsiteY35" fmla="*/ 51072 h 105974"/>
                <a:gd name="connsiteX36" fmla="*/ 6390 w 108628"/>
                <a:gd name="connsiteY36" fmla="*/ 55541 h 105974"/>
                <a:gd name="connsiteX37" fmla="*/ 0 w 108628"/>
                <a:gd name="connsiteY37" fmla="*/ 59371 h 105974"/>
                <a:gd name="connsiteX38" fmla="*/ 1278 w 108628"/>
                <a:gd name="connsiteY38" fmla="*/ 65755 h 105974"/>
                <a:gd name="connsiteX39" fmla="*/ 8307 w 108628"/>
                <a:gd name="connsiteY39" fmla="*/ 66394 h 105974"/>
                <a:gd name="connsiteX40" fmla="*/ 12780 w 108628"/>
                <a:gd name="connsiteY40" fmla="*/ 69586 h 105974"/>
                <a:gd name="connsiteX41" fmla="*/ 19170 w 108628"/>
                <a:gd name="connsiteY41" fmla="*/ 79800 h 105974"/>
                <a:gd name="connsiteX42" fmla="*/ 19809 w 108628"/>
                <a:gd name="connsiteY42" fmla="*/ 85546 h 105974"/>
                <a:gd name="connsiteX43" fmla="*/ 17253 w 108628"/>
                <a:gd name="connsiteY43" fmla="*/ 92568 h 105974"/>
                <a:gd name="connsiteX44" fmla="*/ 22365 w 108628"/>
                <a:gd name="connsiteY44" fmla="*/ 96398 h 105974"/>
                <a:gd name="connsiteX45" fmla="*/ 28755 w 108628"/>
                <a:gd name="connsiteY45" fmla="*/ 92568 h 105974"/>
                <a:gd name="connsiteX46" fmla="*/ 31950 w 108628"/>
                <a:gd name="connsiteY46" fmla="*/ 91291 h 105974"/>
                <a:gd name="connsiteX47" fmla="*/ 33867 w 108628"/>
                <a:gd name="connsiteY47" fmla="*/ 91291 h 105974"/>
                <a:gd name="connsiteX48" fmla="*/ 45368 w 108628"/>
                <a:gd name="connsiteY48" fmla="*/ 95121 h 105974"/>
                <a:gd name="connsiteX49" fmla="*/ 49202 w 108628"/>
                <a:gd name="connsiteY49" fmla="*/ 98952 h 105974"/>
                <a:gd name="connsiteX50" fmla="*/ 51758 w 108628"/>
                <a:gd name="connsiteY50" fmla="*/ 105974 h 105974"/>
                <a:gd name="connsiteX51" fmla="*/ 58148 w 108628"/>
                <a:gd name="connsiteY51" fmla="*/ 105974 h 105974"/>
                <a:gd name="connsiteX52" fmla="*/ 60065 w 108628"/>
                <a:gd name="connsiteY52" fmla="*/ 98952 h 105974"/>
                <a:gd name="connsiteX53" fmla="*/ 63899 w 108628"/>
                <a:gd name="connsiteY53" fmla="*/ 95121 h 105974"/>
                <a:gd name="connsiteX54" fmla="*/ 74762 w 108628"/>
                <a:gd name="connsiteY54" fmla="*/ 90653 h 105974"/>
                <a:gd name="connsiteX55" fmla="*/ 82430 w 108628"/>
                <a:gd name="connsiteY55" fmla="*/ 90653 h 105974"/>
                <a:gd name="connsiteX56" fmla="*/ 55592 w 108628"/>
                <a:gd name="connsiteY56" fmla="*/ 94483 h 105974"/>
                <a:gd name="connsiteX57" fmla="*/ 49202 w 108628"/>
                <a:gd name="connsiteY57" fmla="*/ 93845 h 105974"/>
                <a:gd name="connsiteX58" fmla="*/ 12780 w 108628"/>
                <a:gd name="connsiteY58" fmla="*/ 45965 h 105974"/>
                <a:gd name="connsiteX59" fmla="*/ 60704 w 108628"/>
                <a:gd name="connsiteY59" fmla="*/ 9576 h 105974"/>
                <a:gd name="connsiteX60" fmla="*/ 96488 w 108628"/>
                <a:gd name="connsiteY60" fmla="*/ 58094 h 105974"/>
                <a:gd name="connsiteX61" fmla="*/ 55592 w 108628"/>
                <a:gd name="connsiteY61" fmla="*/ 94483 h 105974"/>
                <a:gd name="connsiteX62" fmla="*/ 55592 w 108628"/>
                <a:gd name="connsiteY62" fmla="*/ 94483 h 105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108628" h="105974">
                  <a:moveTo>
                    <a:pt x="82430" y="90653"/>
                  </a:moveTo>
                  <a:lnTo>
                    <a:pt x="88820" y="94483"/>
                  </a:lnTo>
                  <a:lnTo>
                    <a:pt x="93932" y="90014"/>
                  </a:lnTo>
                  <a:lnTo>
                    <a:pt x="90737" y="82992"/>
                  </a:lnTo>
                  <a:cubicBezTo>
                    <a:pt x="90098" y="81077"/>
                    <a:pt x="90098" y="79162"/>
                    <a:pt x="90737" y="77246"/>
                  </a:cubicBezTo>
                  <a:lnTo>
                    <a:pt x="96488" y="67032"/>
                  </a:lnTo>
                  <a:cubicBezTo>
                    <a:pt x="97127" y="65117"/>
                    <a:pt x="99044" y="63840"/>
                    <a:pt x="100961" y="63840"/>
                  </a:cubicBezTo>
                  <a:lnTo>
                    <a:pt x="107990" y="62563"/>
                  </a:lnTo>
                  <a:lnTo>
                    <a:pt x="108629" y="56179"/>
                  </a:lnTo>
                  <a:lnTo>
                    <a:pt x="102239" y="52987"/>
                  </a:lnTo>
                  <a:cubicBezTo>
                    <a:pt x="100322" y="52349"/>
                    <a:pt x="99044" y="50434"/>
                    <a:pt x="99044" y="48518"/>
                  </a:cubicBezTo>
                  <a:lnTo>
                    <a:pt x="96488" y="37027"/>
                  </a:lnTo>
                  <a:cubicBezTo>
                    <a:pt x="95849" y="35112"/>
                    <a:pt x="96488" y="33197"/>
                    <a:pt x="97766" y="31920"/>
                  </a:cubicBezTo>
                  <a:lnTo>
                    <a:pt x="102239" y="26174"/>
                  </a:lnTo>
                  <a:lnTo>
                    <a:pt x="99044" y="20429"/>
                  </a:lnTo>
                  <a:lnTo>
                    <a:pt x="92015" y="22344"/>
                  </a:lnTo>
                  <a:cubicBezTo>
                    <a:pt x="90098" y="22982"/>
                    <a:pt x="88181" y="22344"/>
                    <a:pt x="86903" y="21067"/>
                  </a:cubicBezTo>
                  <a:lnTo>
                    <a:pt x="77318" y="14045"/>
                  </a:lnTo>
                  <a:cubicBezTo>
                    <a:pt x="76040" y="12768"/>
                    <a:pt x="74762" y="10853"/>
                    <a:pt x="74762" y="8938"/>
                  </a:cubicBezTo>
                  <a:lnTo>
                    <a:pt x="74762" y="1915"/>
                  </a:lnTo>
                  <a:lnTo>
                    <a:pt x="68372" y="0"/>
                  </a:lnTo>
                  <a:lnTo>
                    <a:pt x="63899" y="5746"/>
                  </a:lnTo>
                  <a:cubicBezTo>
                    <a:pt x="62621" y="7022"/>
                    <a:pt x="60704" y="8299"/>
                    <a:pt x="58787" y="8299"/>
                  </a:cubicBezTo>
                  <a:lnTo>
                    <a:pt x="46646" y="8938"/>
                  </a:lnTo>
                  <a:cubicBezTo>
                    <a:pt x="44730" y="8938"/>
                    <a:pt x="42812" y="8299"/>
                    <a:pt x="41535" y="7022"/>
                  </a:cubicBezTo>
                  <a:lnTo>
                    <a:pt x="36423" y="1277"/>
                  </a:lnTo>
                  <a:lnTo>
                    <a:pt x="30033" y="3830"/>
                  </a:lnTo>
                  <a:lnTo>
                    <a:pt x="30672" y="10853"/>
                  </a:lnTo>
                  <a:cubicBezTo>
                    <a:pt x="30672" y="12768"/>
                    <a:pt x="30033" y="14683"/>
                    <a:pt x="28755" y="15960"/>
                  </a:cubicBezTo>
                  <a:lnTo>
                    <a:pt x="19809" y="23621"/>
                  </a:lnTo>
                  <a:cubicBezTo>
                    <a:pt x="18531" y="24898"/>
                    <a:pt x="16614" y="25536"/>
                    <a:pt x="14697" y="24898"/>
                  </a:cubicBezTo>
                  <a:lnTo>
                    <a:pt x="7668" y="23621"/>
                  </a:lnTo>
                  <a:lnTo>
                    <a:pt x="4473" y="29366"/>
                  </a:lnTo>
                  <a:lnTo>
                    <a:pt x="9585" y="34474"/>
                  </a:lnTo>
                  <a:cubicBezTo>
                    <a:pt x="10863" y="35750"/>
                    <a:pt x="11502" y="37666"/>
                    <a:pt x="11502" y="39581"/>
                  </a:cubicBezTo>
                  <a:lnTo>
                    <a:pt x="9585" y="51072"/>
                  </a:lnTo>
                  <a:cubicBezTo>
                    <a:pt x="9585" y="52987"/>
                    <a:pt x="8307" y="54902"/>
                    <a:pt x="6390" y="55541"/>
                  </a:cubicBezTo>
                  <a:lnTo>
                    <a:pt x="0" y="59371"/>
                  </a:lnTo>
                  <a:lnTo>
                    <a:pt x="1278" y="65755"/>
                  </a:lnTo>
                  <a:lnTo>
                    <a:pt x="8307" y="66394"/>
                  </a:lnTo>
                  <a:cubicBezTo>
                    <a:pt x="10224" y="66394"/>
                    <a:pt x="12141" y="67670"/>
                    <a:pt x="12780" y="69586"/>
                  </a:cubicBezTo>
                  <a:lnTo>
                    <a:pt x="19170" y="79800"/>
                  </a:lnTo>
                  <a:cubicBezTo>
                    <a:pt x="20448" y="81715"/>
                    <a:pt x="20448" y="83630"/>
                    <a:pt x="19809" y="85546"/>
                  </a:cubicBezTo>
                  <a:lnTo>
                    <a:pt x="17253" y="92568"/>
                  </a:lnTo>
                  <a:lnTo>
                    <a:pt x="22365" y="96398"/>
                  </a:lnTo>
                  <a:lnTo>
                    <a:pt x="28755" y="92568"/>
                  </a:lnTo>
                  <a:cubicBezTo>
                    <a:pt x="30033" y="91930"/>
                    <a:pt x="31311" y="91291"/>
                    <a:pt x="31950" y="91291"/>
                  </a:cubicBezTo>
                  <a:cubicBezTo>
                    <a:pt x="32589" y="91291"/>
                    <a:pt x="33228" y="91291"/>
                    <a:pt x="33867" y="91291"/>
                  </a:cubicBezTo>
                  <a:lnTo>
                    <a:pt x="45368" y="95121"/>
                  </a:lnTo>
                  <a:cubicBezTo>
                    <a:pt x="47285" y="95760"/>
                    <a:pt x="48563" y="97037"/>
                    <a:pt x="49202" y="98952"/>
                  </a:cubicBezTo>
                  <a:lnTo>
                    <a:pt x="51758" y="105974"/>
                  </a:lnTo>
                  <a:lnTo>
                    <a:pt x="58148" y="105974"/>
                  </a:lnTo>
                  <a:lnTo>
                    <a:pt x="60065" y="98952"/>
                  </a:lnTo>
                  <a:cubicBezTo>
                    <a:pt x="60704" y="97037"/>
                    <a:pt x="61982" y="95760"/>
                    <a:pt x="63899" y="95121"/>
                  </a:cubicBezTo>
                  <a:lnTo>
                    <a:pt x="74762" y="90653"/>
                  </a:lnTo>
                  <a:cubicBezTo>
                    <a:pt x="78596" y="90014"/>
                    <a:pt x="81152" y="90014"/>
                    <a:pt x="82430" y="90653"/>
                  </a:cubicBezTo>
                  <a:close/>
                  <a:moveTo>
                    <a:pt x="55592" y="94483"/>
                  </a:moveTo>
                  <a:cubicBezTo>
                    <a:pt x="53675" y="94483"/>
                    <a:pt x="51119" y="94483"/>
                    <a:pt x="49202" y="93845"/>
                  </a:cubicBezTo>
                  <a:cubicBezTo>
                    <a:pt x="26199" y="90653"/>
                    <a:pt x="9585" y="68947"/>
                    <a:pt x="12780" y="45965"/>
                  </a:cubicBezTo>
                  <a:cubicBezTo>
                    <a:pt x="15975" y="22982"/>
                    <a:pt x="37701" y="6384"/>
                    <a:pt x="60704" y="9576"/>
                  </a:cubicBezTo>
                  <a:cubicBezTo>
                    <a:pt x="83708" y="12768"/>
                    <a:pt x="100322" y="34474"/>
                    <a:pt x="96488" y="58094"/>
                  </a:cubicBezTo>
                  <a:cubicBezTo>
                    <a:pt x="93932" y="78523"/>
                    <a:pt x="76040" y="93845"/>
                    <a:pt x="55592" y="94483"/>
                  </a:cubicBezTo>
                  <a:lnTo>
                    <a:pt x="55592" y="94483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Graphic 4">
              <a:extLst>
                <a:ext uri="{FF2B5EF4-FFF2-40B4-BE49-F238E27FC236}">
                  <a16:creationId xmlns:a16="http://schemas.microsoft.com/office/drawing/2014/main" id="{0719AB81-6133-014C-AC03-340334858E32}"/>
                </a:ext>
              </a:extLst>
            </p:cNvPr>
            <p:cNvSpPr/>
            <p:nvPr/>
          </p:nvSpPr>
          <p:spPr>
            <a:xfrm>
              <a:off x="1952125" y="2371173"/>
              <a:ext cx="362313" cy="361971"/>
            </a:xfrm>
            <a:custGeom>
              <a:avLst/>
              <a:gdLst>
                <a:gd name="connsiteX0" fmla="*/ 181474 w 362313"/>
                <a:gd name="connsiteY0" fmla="*/ 0 h 361971"/>
                <a:gd name="connsiteX1" fmla="*/ 0 w 362313"/>
                <a:gd name="connsiteY1" fmla="*/ 180667 h 361971"/>
                <a:gd name="connsiteX2" fmla="*/ 180835 w 362313"/>
                <a:gd name="connsiteY2" fmla="*/ 361972 h 361971"/>
                <a:gd name="connsiteX3" fmla="*/ 362310 w 362313"/>
                <a:gd name="connsiteY3" fmla="*/ 181305 h 361971"/>
                <a:gd name="connsiteX4" fmla="*/ 362310 w 362313"/>
                <a:gd name="connsiteY4" fmla="*/ 181305 h 361971"/>
                <a:gd name="connsiteX5" fmla="*/ 181474 w 362313"/>
                <a:gd name="connsiteY5" fmla="*/ 0 h 361971"/>
                <a:gd name="connsiteX6" fmla="*/ 152719 w 362313"/>
                <a:gd name="connsiteY6" fmla="*/ 192158 h 361971"/>
                <a:gd name="connsiteX7" fmla="*/ 145052 w 362313"/>
                <a:gd name="connsiteY7" fmla="*/ 198542 h 361971"/>
                <a:gd name="connsiteX8" fmla="*/ 132272 w 362313"/>
                <a:gd name="connsiteY8" fmla="*/ 199180 h 361971"/>
                <a:gd name="connsiteX9" fmla="*/ 132272 w 362313"/>
                <a:gd name="connsiteY9" fmla="*/ 199180 h 361971"/>
                <a:gd name="connsiteX10" fmla="*/ 124604 w 362313"/>
                <a:gd name="connsiteY10" fmla="*/ 193435 h 361971"/>
                <a:gd name="connsiteX11" fmla="*/ 122048 w 362313"/>
                <a:gd name="connsiteY11" fmla="*/ 186412 h 361971"/>
                <a:gd name="connsiteX12" fmla="*/ 116297 w 362313"/>
                <a:gd name="connsiteY12" fmla="*/ 184497 h 361971"/>
                <a:gd name="connsiteX13" fmla="*/ 109907 w 362313"/>
                <a:gd name="connsiteY13" fmla="*/ 188327 h 361971"/>
                <a:gd name="connsiteX14" fmla="*/ 99683 w 362313"/>
                <a:gd name="connsiteY14" fmla="*/ 187689 h 361971"/>
                <a:gd name="connsiteX15" fmla="*/ 89459 w 362313"/>
                <a:gd name="connsiteY15" fmla="*/ 180028 h 361971"/>
                <a:gd name="connsiteX16" fmla="*/ 86903 w 362313"/>
                <a:gd name="connsiteY16" fmla="*/ 170452 h 361971"/>
                <a:gd name="connsiteX17" fmla="*/ 89459 w 362313"/>
                <a:gd name="connsiteY17" fmla="*/ 163430 h 361971"/>
                <a:gd name="connsiteX18" fmla="*/ 86264 w 362313"/>
                <a:gd name="connsiteY18" fmla="*/ 158323 h 361971"/>
                <a:gd name="connsiteX19" fmla="*/ 79235 w 362313"/>
                <a:gd name="connsiteY19" fmla="*/ 157684 h 361971"/>
                <a:gd name="connsiteX20" fmla="*/ 72206 w 362313"/>
                <a:gd name="connsiteY20" fmla="*/ 150662 h 361971"/>
                <a:gd name="connsiteX21" fmla="*/ 69650 w 362313"/>
                <a:gd name="connsiteY21" fmla="*/ 138533 h 361971"/>
                <a:gd name="connsiteX22" fmla="*/ 73484 w 362313"/>
                <a:gd name="connsiteY22" fmla="*/ 129595 h 361971"/>
                <a:gd name="connsiteX23" fmla="*/ 79874 w 362313"/>
                <a:gd name="connsiteY23" fmla="*/ 125765 h 361971"/>
                <a:gd name="connsiteX24" fmla="*/ 80513 w 362313"/>
                <a:gd name="connsiteY24" fmla="*/ 120019 h 361971"/>
                <a:gd name="connsiteX25" fmla="*/ 75401 w 362313"/>
                <a:gd name="connsiteY25" fmla="*/ 114912 h 361971"/>
                <a:gd name="connsiteX26" fmla="*/ 74123 w 362313"/>
                <a:gd name="connsiteY26" fmla="*/ 105336 h 361971"/>
                <a:gd name="connsiteX27" fmla="*/ 79874 w 362313"/>
                <a:gd name="connsiteY27" fmla="*/ 93845 h 361971"/>
                <a:gd name="connsiteX28" fmla="*/ 88820 w 362313"/>
                <a:gd name="connsiteY28" fmla="*/ 89376 h 361971"/>
                <a:gd name="connsiteX29" fmla="*/ 95849 w 362313"/>
                <a:gd name="connsiteY29" fmla="*/ 90653 h 361971"/>
                <a:gd name="connsiteX30" fmla="*/ 100322 w 362313"/>
                <a:gd name="connsiteY30" fmla="*/ 86822 h 361971"/>
                <a:gd name="connsiteX31" fmla="*/ 99683 w 362313"/>
                <a:gd name="connsiteY31" fmla="*/ 79800 h 361971"/>
                <a:gd name="connsiteX32" fmla="*/ 104795 w 362313"/>
                <a:gd name="connsiteY32" fmla="*/ 70862 h 361971"/>
                <a:gd name="connsiteX33" fmla="*/ 116297 w 362313"/>
                <a:gd name="connsiteY33" fmla="*/ 66394 h 361971"/>
                <a:gd name="connsiteX34" fmla="*/ 125882 w 362313"/>
                <a:gd name="connsiteY34" fmla="*/ 68947 h 361971"/>
                <a:gd name="connsiteX35" fmla="*/ 130355 w 362313"/>
                <a:gd name="connsiteY35" fmla="*/ 74693 h 361971"/>
                <a:gd name="connsiteX36" fmla="*/ 136106 w 362313"/>
                <a:gd name="connsiteY36" fmla="*/ 74693 h 361971"/>
                <a:gd name="connsiteX37" fmla="*/ 140579 w 362313"/>
                <a:gd name="connsiteY37" fmla="*/ 68947 h 361971"/>
                <a:gd name="connsiteX38" fmla="*/ 150164 w 362313"/>
                <a:gd name="connsiteY38" fmla="*/ 65755 h 361971"/>
                <a:gd name="connsiteX39" fmla="*/ 162304 w 362313"/>
                <a:gd name="connsiteY39" fmla="*/ 69586 h 361971"/>
                <a:gd name="connsiteX40" fmla="*/ 168694 w 362313"/>
                <a:gd name="connsiteY40" fmla="*/ 77885 h 361971"/>
                <a:gd name="connsiteX41" fmla="*/ 168694 w 362313"/>
                <a:gd name="connsiteY41" fmla="*/ 84907 h 361971"/>
                <a:gd name="connsiteX42" fmla="*/ 173167 w 362313"/>
                <a:gd name="connsiteY42" fmla="*/ 88099 h 361971"/>
                <a:gd name="connsiteX43" fmla="*/ 180196 w 362313"/>
                <a:gd name="connsiteY43" fmla="*/ 86184 h 361971"/>
                <a:gd name="connsiteX44" fmla="*/ 189781 w 362313"/>
                <a:gd name="connsiteY44" fmla="*/ 90014 h 361971"/>
                <a:gd name="connsiteX45" fmla="*/ 196171 w 362313"/>
                <a:gd name="connsiteY45" fmla="*/ 100867 h 361971"/>
                <a:gd name="connsiteX46" fmla="*/ 195532 w 362313"/>
                <a:gd name="connsiteY46" fmla="*/ 111081 h 361971"/>
                <a:gd name="connsiteX47" fmla="*/ 191059 w 362313"/>
                <a:gd name="connsiteY47" fmla="*/ 116827 h 361971"/>
                <a:gd name="connsiteX48" fmla="*/ 192337 w 362313"/>
                <a:gd name="connsiteY48" fmla="*/ 122573 h 361971"/>
                <a:gd name="connsiteX49" fmla="*/ 198727 w 362313"/>
                <a:gd name="connsiteY49" fmla="*/ 125765 h 361971"/>
                <a:gd name="connsiteX50" fmla="*/ 203200 w 362313"/>
                <a:gd name="connsiteY50" fmla="*/ 134702 h 361971"/>
                <a:gd name="connsiteX51" fmla="*/ 201283 w 362313"/>
                <a:gd name="connsiteY51" fmla="*/ 147470 h 361971"/>
                <a:gd name="connsiteX52" fmla="*/ 194254 w 362313"/>
                <a:gd name="connsiteY52" fmla="*/ 154492 h 361971"/>
                <a:gd name="connsiteX53" fmla="*/ 187225 w 362313"/>
                <a:gd name="connsiteY53" fmla="*/ 155769 h 361971"/>
                <a:gd name="connsiteX54" fmla="*/ 184669 w 362313"/>
                <a:gd name="connsiteY54" fmla="*/ 160876 h 361971"/>
                <a:gd name="connsiteX55" fmla="*/ 187225 w 362313"/>
                <a:gd name="connsiteY55" fmla="*/ 167260 h 361971"/>
                <a:gd name="connsiteX56" fmla="*/ 185308 w 362313"/>
                <a:gd name="connsiteY56" fmla="*/ 176836 h 361971"/>
                <a:gd name="connsiteX57" fmla="*/ 175723 w 362313"/>
                <a:gd name="connsiteY57" fmla="*/ 185135 h 361971"/>
                <a:gd name="connsiteX58" fmla="*/ 165499 w 362313"/>
                <a:gd name="connsiteY58" fmla="*/ 186412 h 361971"/>
                <a:gd name="connsiteX59" fmla="*/ 159109 w 362313"/>
                <a:gd name="connsiteY59" fmla="*/ 183220 h 361971"/>
                <a:gd name="connsiteX60" fmla="*/ 153998 w 362313"/>
                <a:gd name="connsiteY60" fmla="*/ 185135 h 361971"/>
                <a:gd name="connsiteX61" fmla="*/ 152719 w 362313"/>
                <a:gd name="connsiteY61" fmla="*/ 192158 h 361971"/>
                <a:gd name="connsiteX62" fmla="*/ 292020 w 362313"/>
                <a:gd name="connsiteY62" fmla="*/ 245145 h 361971"/>
                <a:gd name="connsiteX63" fmla="*/ 284991 w 362313"/>
                <a:gd name="connsiteY63" fmla="*/ 252167 h 361971"/>
                <a:gd name="connsiteX64" fmla="*/ 277962 w 362313"/>
                <a:gd name="connsiteY64" fmla="*/ 253444 h 361971"/>
                <a:gd name="connsiteX65" fmla="*/ 275406 w 362313"/>
                <a:gd name="connsiteY65" fmla="*/ 258551 h 361971"/>
                <a:gd name="connsiteX66" fmla="*/ 278601 w 362313"/>
                <a:gd name="connsiteY66" fmla="*/ 264935 h 361971"/>
                <a:gd name="connsiteX67" fmla="*/ 276684 w 362313"/>
                <a:gd name="connsiteY67" fmla="*/ 274511 h 361971"/>
                <a:gd name="connsiteX68" fmla="*/ 267099 w 362313"/>
                <a:gd name="connsiteY68" fmla="*/ 282811 h 361971"/>
                <a:gd name="connsiteX69" fmla="*/ 256876 w 362313"/>
                <a:gd name="connsiteY69" fmla="*/ 284087 h 361971"/>
                <a:gd name="connsiteX70" fmla="*/ 250486 w 362313"/>
                <a:gd name="connsiteY70" fmla="*/ 280257 h 361971"/>
                <a:gd name="connsiteX71" fmla="*/ 245374 w 362313"/>
                <a:gd name="connsiteY71" fmla="*/ 282172 h 361971"/>
                <a:gd name="connsiteX72" fmla="*/ 243457 w 362313"/>
                <a:gd name="connsiteY72" fmla="*/ 289195 h 361971"/>
                <a:gd name="connsiteX73" fmla="*/ 235789 w 362313"/>
                <a:gd name="connsiteY73" fmla="*/ 295579 h 361971"/>
                <a:gd name="connsiteX74" fmla="*/ 223009 w 362313"/>
                <a:gd name="connsiteY74" fmla="*/ 296217 h 361971"/>
                <a:gd name="connsiteX75" fmla="*/ 223009 w 362313"/>
                <a:gd name="connsiteY75" fmla="*/ 296217 h 361971"/>
                <a:gd name="connsiteX76" fmla="*/ 215341 w 362313"/>
                <a:gd name="connsiteY76" fmla="*/ 290471 h 361971"/>
                <a:gd name="connsiteX77" fmla="*/ 212785 w 362313"/>
                <a:gd name="connsiteY77" fmla="*/ 284087 h 361971"/>
                <a:gd name="connsiteX78" fmla="*/ 207673 w 362313"/>
                <a:gd name="connsiteY78" fmla="*/ 282172 h 361971"/>
                <a:gd name="connsiteX79" fmla="*/ 201283 w 362313"/>
                <a:gd name="connsiteY79" fmla="*/ 286003 h 361971"/>
                <a:gd name="connsiteX80" fmla="*/ 191059 w 362313"/>
                <a:gd name="connsiteY80" fmla="*/ 285364 h 361971"/>
                <a:gd name="connsiteX81" fmla="*/ 180835 w 362313"/>
                <a:gd name="connsiteY81" fmla="*/ 277703 h 361971"/>
                <a:gd name="connsiteX82" fmla="*/ 178279 w 362313"/>
                <a:gd name="connsiteY82" fmla="*/ 268127 h 361971"/>
                <a:gd name="connsiteX83" fmla="*/ 180835 w 362313"/>
                <a:gd name="connsiteY83" fmla="*/ 261105 h 361971"/>
                <a:gd name="connsiteX84" fmla="*/ 177640 w 362313"/>
                <a:gd name="connsiteY84" fmla="*/ 255998 h 361971"/>
                <a:gd name="connsiteX85" fmla="*/ 170611 w 362313"/>
                <a:gd name="connsiteY85" fmla="*/ 255359 h 361971"/>
                <a:gd name="connsiteX86" fmla="*/ 163582 w 362313"/>
                <a:gd name="connsiteY86" fmla="*/ 248337 h 361971"/>
                <a:gd name="connsiteX87" fmla="*/ 161027 w 362313"/>
                <a:gd name="connsiteY87" fmla="*/ 236207 h 361971"/>
                <a:gd name="connsiteX88" fmla="*/ 164860 w 362313"/>
                <a:gd name="connsiteY88" fmla="*/ 227270 h 361971"/>
                <a:gd name="connsiteX89" fmla="*/ 171250 w 362313"/>
                <a:gd name="connsiteY89" fmla="*/ 223439 h 361971"/>
                <a:gd name="connsiteX90" fmla="*/ 171889 w 362313"/>
                <a:gd name="connsiteY90" fmla="*/ 217694 h 361971"/>
                <a:gd name="connsiteX91" fmla="*/ 166777 w 362313"/>
                <a:gd name="connsiteY91" fmla="*/ 212587 h 361971"/>
                <a:gd name="connsiteX92" fmla="*/ 165499 w 362313"/>
                <a:gd name="connsiteY92" fmla="*/ 203011 h 361971"/>
                <a:gd name="connsiteX93" fmla="*/ 171250 w 362313"/>
                <a:gd name="connsiteY93" fmla="*/ 191519 h 361971"/>
                <a:gd name="connsiteX94" fmla="*/ 180196 w 362313"/>
                <a:gd name="connsiteY94" fmla="*/ 187051 h 361971"/>
                <a:gd name="connsiteX95" fmla="*/ 187225 w 362313"/>
                <a:gd name="connsiteY95" fmla="*/ 188327 h 361971"/>
                <a:gd name="connsiteX96" fmla="*/ 191698 w 362313"/>
                <a:gd name="connsiteY96" fmla="*/ 184497 h 361971"/>
                <a:gd name="connsiteX97" fmla="*/ 191059 w 362313"/>
                <a:gd name="connsiteY97" fmla="*/ 177475 h 361971"/>
                <a:gd name="connsiteX98" fmla="*/ 196171 w 362313"/>
                <a:gd name="connsiteY98" fmla="*/ 169176 h 361971"/>
                <a:gd name="connsiteX99" fmla="*/ 207673 w 362313"/>
                <a:gd name="connsiteY99" fmla="*/ 164707 h 361971"/>
                <a:gd name="connsiteX100" fmla="*/ 217258 w 362313"/>
                <a:gd name="connsiteY100" fmla="*/ 167260 h 361971"/>
                <a:gd name="connsiteX101" fmla="*/ 221731 w 362313"/>
                <a:gd name="connsiteY101" fmla="*/ 173006 h 361971"/>
                <a:gd name="connsiteX102" fmla="*/ 227482 w 362313"/>
                <a:gd name="connsiteY102" fmla="*/ 173006 h 361971"/>
                <a:gd name="connsiteX103" fmla="*/ 231955 w 362313"/>
                <a:gd name="connsiteY103" fmla="*/ 167260 h 361971"/>
                <a:gd name="connsiteX104" fmla="*/ 241540 w 362313"/>
                <a:gd name="connsiteY104" fmla="*/ 164068 h 361971"/>
                <a:gd name="connsiteX105" fmla="*/ 253681 w 362313"/>
                <a:gd name="connsiteY105" fmla="*/ 167899 h 361971"/>
                <a:gd name="connsiteX106" fmla="*/ 259431 w 362313"/>
                <a:gd name="connsiteY106" fmla="*/ 176198 h 361971"/>
                <a:gd name="connsiteX107" fmla="*/ 259431 w 362313"/>
                <a:gd name="connsiteY107" fmla="*/ 183220 h 361971"/>
                <a:gd name="connsiteX108" fmla="*/ 263904 w 362313"/>
                <a:gd name="connsiteY108" fmla="*/ 186412 h 361971"/>
                <a:gd name="connsiteX109" fmla="*/ 270933 w 362313"/>
                <a:gd name="connsiteY109" fmla="*/ 185135 h 361971"/>
                <a:gd name="connsiteX110" fmla="*/ 280518 w 362313"/>
                <a:gd name="connsiteY110" fmla="*/ 188966 h 361971"/>
                <a:gd name="connsiteX111" fmla="*/ 286908 w 362313"/>
                <a:gd name="connsiteY111" fmla="*/ 199819 h 361971"/>
                <a:gd name="connsiteX112" fmla="*/ 286269 w 362313"/>
                <a:gd name="connsiteY112" fmla="*/ 210033 h 361971"/>
                <a:gd name="connsiteX113" fmla="*/ 281796 w 362313"/>
                <a:gd name="connsiteY113" fmla="*/ 215779 h 361971"/>
                <a:gd name="connsiteX114" fmla="*/ 283074 w 362313"/>
                <a:gd name="connsiteY114" fmla="*/ 221524 h 361971"/>
                <a:gd name="connsiteX115" fmla="*/ 289464 w 362313"/>
                <a:gd name="connsiteY115" fmla="*/ 224716 h 361971"/>
                <a:gd name="connsiteX116" fmla="*/ 293937 w 362313"/>
                <a:gd name="connsiteY116" fmla="*/ 233654 h 361971"/>
                <a:gd name="connsiteX117" fmla="*/ 292020 w 362313"/>
                <a:gd name="connsiteY117" fmla="*/ 245145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362313" h="361971">
                  <a:moveTo>
                    <a:pt x="181474" y="0"/>
                  </a:moveTo>
                  <a:cubicBezTo>
                    <a:pt x="81152" y="0"/>
                    <a:pt x="0" y="81077"/>
                    <a:pt x="0" y="180667"/>
                  </a:cubicBezTo>
                  <a:cubicBezTo>
                    <a:pt x="0" y="280895"/>
                    <a:pt x="81152" y="361972"/>
                    <a:pt x="180835" y="361972"/>
                  </a:cubicBezTo>
                  <a:cubicBezTo>
                    <a:pt x="281157" y="361972"/>
                    <a:pt x="362310" y="280895"/>
                    <a:pt x="362310" y="181305"/>
                  </a:cubicBezTo>
                  <a:cubicBezTo>
                    <a:pt x="362310" y="181305"/>
                    <a:pt x="362310" y="181305"/>
                    <a:pt x="362310" y="181305"/>
                  </a:cubicBezTo>
                  <a:cubicBezTo>
                    <a:pt x="362948" y="81077"/>
                    <a:pt x="281796" y="0"/>
                    <a:pt x="181474" y="0"/>
                  </a:cubicBezTo>
                  <a:close/>
                  <a:moveTo>
                    <a:pt x="152719" y="192158"/>
                  </a:moveTo>
                  <a:cubicBezTo>
                    <a:pt x="151442" y="195988"/>
                    <a:pt x="148247" y="198542"/>
                    <a:pt x="145052" y="198542"/>
                  </a:cubicBezTo>
                  <a:lnTo>
                    <a:pt x="132272" y="199180"/>
                  </a:lnTo>
                  <a:lnTo>
                    <a:pt x="132272" y="199180"/>
                  </a:lnTo>
                  <a:cubicBezTo>
                    <a:pt x="128438" y="199180"/>
                    <a:pt x="125243" y="197265"/>
                    <a:pt x="124604" y="193435"/>
                  </a:cubicBezTo>
                  <a:lnTo>
                    <a:pt x="122048" y="186412"/>
                  </a:lnTo>
                  <a:lnTo>
                    <a:pt x="116297" y="184497"/>
                  </a:lnTo>
                  <a:lnTo>
                    <a:pt x="109907" y="188327"/>
                  </a:lnTo>
                  <a:cubicBezTo>
                    <a:pt x="106712" y="190243"/>
                    <a:pt x="102878" y="190243"/>
                    <a:pt x="99683" y="187689"/>
                  </a:cubicBezTo>
                  <a:lnTo>
                    <a:pt x="89459" y="180028"/>
                  </a:lnTo>
                  <a:cubicBezTo>
                    <a:pt x="86264" y="177475"/>
                    <a:pt x="85625" y="173644"/>
                    <a:pt x="86903" y="170452"/>
                  </a:cubicBezTo>
                  <a:lnTo>
                    <a:pt x="89459" y="163430"/>
                  </a:lnTo>
                  <a:lnTo>
                    <a:pt x="86264" y="158323"/>
                  </a:lnTo>
                  <a:lnTo>
                    <a:pt x="79235" y="157684"/>
                  </a:lnTo>
                  <a:cubicBezTo>
                    <a:pt x="75401" y="157046"/>
                    <a:pt x="72845" y="154492"/>
                    <a:pt x="72206" y="150662"/>
                  </a:cubicBezTo>
                  <a:lnTo>
                    <a:pt x="69650" y="138533"/>
                  </a:lnTo>
                  <a:cubicBezTo>
                    <a:pt x="69011" y="134702"/>
                    <a:pt x="70289" y="131510"/>
                    <a:pt x="73484" y="129595"/>
                  </a:cubicBezTo>
                  <a:lnTo>
                    <a:pt x="79874" y="125765"/>
                  </a:lnTo>
                  <a:lnTo>
                    <a:pt x="80513" y="120019"/>
                  </a:lnTo>
                  <a:lnTo>
                    <a:pt x="75401" y="114912"/>
                  </a:lnTo>
                  <a:cubicBezTo>
                    <a:pt x="72845" y="112358"/>
                    <a:pt x="72206" y="108528"/>
                    <a:pt x="74123" y="105336"/>
                  </a:cubicBezTo>
                  <a:lnTo>
                    <a:pt x="79874" y="93845"/>
                  </a:lnTo>
                  <a:cubicBezTo>
                    <a:pt x="81791" y="90653"/>
                    <a:pt x="84986" y="88738"/>
                    <a:pt x="88820" y="89376"/>
                  </a:cubicBezTo>
                  <a:lnTo>
                    <a:pt x="95849" y="90653"/>
                  </a:lnTo>
                  <a:lnTo>
                    <a:pt x="100322" y="86822"/>
                  </a:lnTo>
                  <a:lnTo>
                    <a:pt x="99683" y="79800"/>
                  </a:lnTo>
                  <a:cubicBezTo>
                    <a:pt x="99044" y="75970"/>
                    <a:pt x="101600" y="72778"/>
                    <a:pt x="104795" y="70862"/>
                  </a:cubicBezTo>
                  <a:lnTo>
                    <a:pt x="116297" y="66394"/>
                  </a:lnTo>
                  <a:cubicBezTo>
                    <a:pt x="119492" y="65117"/>
                    <a:pt x="123326" y="65755"/>
                    <a:pt x="125882" y="68947"/>
                  </a:cubicBezTo>
                  <a:lnTo>
                    <a:pt x="130355" y="74693"/>
                  </a:lnTo>
                  <a:lnTo>
                    <a:pt x="136106" y="74693"/>
                  </a:lnTo>
                  <a:lnTo>
                    <a:pt x="140579" y="68947"/>
                  </a:lnTo>
                  <a:cubicBezTo>
                    <a:pt x="142496" y="65755"/>
                    <a:pt x="146969" y="64478"/>
                    <a:pt x="150164" y="65755"/>
                  </a:cubicBezTo>
                  <a:lnTo>
                    <a:pt x="162304" y="69586"/>
                  </a:lnTo>
                  <a:cubicBezTo>
                    <a:pt x="166138" y="70862"/>
                    <a:pt x="168694" y="74054"/>
                    <a:pt x="168694" y="77885"/>
                  </a:cubicBezTo>
                  <a:lnTo>
                    <a:pt x="168694" y="84907"/>
                  </a:lnTo>
                  <a:lnTo>
                    <a:pt x="173167" y="88099"/>
                  </a:lnTo>
                  <a:lnTo>
                    <a:pt x="180196" y="86184"/>
                  </a:lnTo>
                  <a:cubicBezTo>
                    <a:pt x="184030" y="85546"/>
                    <a:pt x="187225" y="86822"/>
                    <a:pt x="189781" y="90014"/>
                  </a:cubicBezTo>
                  <a:lnTo>
                    <a:pt x="196171" y="100867"/>
                  </a:lnTo>
                  <a:cubicBezTo>
                    <a:pt x="198088" y="104059"/>
                    <a:pt x="198088" y="107889"/>
                    <a:pt x="195532" y="111081"/>
                  </a:cubicBezTo>
                  <a:lnTo>
                    <a:pt x="191059" y="116827"/>
                  </a:lnTo>
                  <a:lnTo>
                    <a:pt x="192337" y="122573"/>
                  </a:lnTo>
                  <a:lnTo>
                    <a:pt x="198727" y="125765"/>
                  </a:lnTo>
                  <a:cubicBezTo>
                    <a:pt x="201922" y="127680"/>
                    <a:pt x="203839" y="130872"/>
                    <a:pt x="203200" y="134702"/>
                  </a:cubicBezTo>
                  <a:lnTo>
                    <a:pt x="201283" y="147470"/>
                  </a:lnTo>
                  <a:cubicBezTo>
                    <a:pt x="200644" y="150662"/>
                    <a:pt x="198088" y="153854"/>
                    <a:pt x="194254" y="154492"/>
                  </a:cubicBezTo>
                  <a:lnTo>
                    <a:pt x="187225" y="155769"/>
                  </a:lnTo>
                  <a:lnTo>
                    <a:pt x="184669" y="160876"/>
                  </a:lnTo>
                  <a:lnTo>
                    <a:pt x="187225" y="167260"/>
                  </a:lnTo>
                  <a:cubicBezTo>
                    <a:pt x="188503" y="170452"/>
                    <a:pt x="187864" y="174283"/>
                    <a:pt x="185308" y="176836"/>
                  </a:cubicBezTo>
                  <a:lnTo>
                    <a:pt x="175723" y="185135"/>
                  </a:lnTo>
                  <a:cubicBezTo>
                    <a:pt x="173167" y="187689"/>
                    <a:pt x="168694" y="188327"/>
                    <a:pt x="165499" y="186412"/>
                  </a:cubicBezTo>
                  <a:lnTo>
                    <a:pt x="159109" y="183220"/>
                  </a:lnTo>
                  <a:lnTo>
                    <a:pt x="153998" y="185135"/>
                  </a:lnTo>
                  <a:lnTo>
                    <a:pt x="152719" y="192158"/>
                  </a:lnTo>
                  <a:close/>
                  <a:moveTo>
                    <a:pt x="292020" y="245145"/>
                  </a:moveTo>
                  <a:cubicBezTo>
                    <a:pt x="291381" y="248975"/>
                    <a:pt x="288825" y="251529"/>
                    <a:pt x="284991" y="252167"/>
                  </a:cubicBezTo>
                  <a:lnTo>
                    <a:pt x="277962" y="253444"/>
                  </a:lnTo>
                  <a:lnTo>
                    <a:pt x="275406" y="258551"/>
                  </a:lnTo>
                  <a:lnTo>
                    <a:pt x="278601" y="264935"/>
                  </a:lnTo>
                  <a:cubicBezTo>
                    <a:pt x="279879" y="268127"/>
                    <a:pt x="279240" y="271958"/>
                    <a:pt x="276684" y="274511"/>
                  </a:cubicBezTo>
                  <a:lnTo>
                    <a:pt x="267099" y="282811"/>
                  </a:lnTo>
                  <a:cubicBezTo>
                    <a:pt x="264543" y="285364"/>
                    <a:pt x="260071" y="286003"/>
                    <a:pt x="256876" y="284087"/>
                  </a:cubicBezTo>
                  <a:lnTo>
                    <a:pt x="250486" y="280257"/>
                  </a:lnTo>
                  <a:lnTo>
                    <a:pt x="245374" y="282172"/>
                  </a:lnTo>
                  <a:lnTo>
                    <a:pt x="243457" y="289195"/>
                  </a:lnTo>
                  <a:cubicBezTo>
                    <a:pt x="242179" y="292387"/>
                    <a:pt x="238984" y="294940"/>
                    <a:pt x="235789" y="295579"/>
                  </a:cubicBezTo>
                  <a:lnTo>
                    <a:pt x="223009" y="296217"/>
                  </a:lnTo>
                  <a:lnTo>
                    <a:pt x="223009" y="296217"/>
                  </a:lnTo>
                  <a:cubicBezTo>
                    <a:pt x="219175" y="296217"/>
                    <a:pt x="215980" y="293663"/>
                    <a:pt x="215341" y="290471"/>
                  </a:cubicBezTo>
                  <a:lnTo>
                    <a:pt x="212785" y="284087"/>
                  </a:lnTo>
                  <a:lnTo>
                    <a:pt x="207673" y="282172"/>
                  </a:lnTo>
                  <a:lnTo>
                    <a:pt x="201283" y="286003"/>
                  </a:lnTo>
                  <a:cubicBezTo>
                    <a:pt x="198088" y="287918"/>
                    <a:pt x="194254" y="287918"/>
                    <a:pt x="191059" y="285364"/>
                  </a:cubicBezTo>
                  <a:lnTo>
                    <a:pt x="180835" y="277703"/>
                  </a:lnTo>
                  <a:cubicBezTo>
                    <a:pt x="177640" y="275150"/>
                    <a:pt x="177001" y="271319"/>
                    <a:pt x="178279" y="268127"/>
                  </a:cubicBezTo>
                  <a:lnTo>
                    <a:pt x="180835" y="261105"/>
                  </a:lnTo>
                  <a:lnTo>
                    <a:pt x="177640" y="255998"/>
                  </a:lnTo>
                  <a:lnTo>
                    <a:pt x="170611" y="255359"/>
                  </a:lnTo>
                  <a:cubicBezTo>
                    <a:pt x="166777" y="254721"/>
                    <a:pt x="164221" y="252167"/>
                    <a:pt x="163582" y="248337"/>
                  </a:cubicBezTo>
                  <a:lnTo>
                    <a:pt x="161027" y="236207"/>
                  </a:lnTo>
                  <a:cubicBezTo>
                    <a:pt x="160387" y="232377"/>
                    <a:pt x="161665" y="229185"/>
                    <a:pt x="164860" y="227270"/>
                  </a:cubicBezTo>
                  <a:lnTo>
                    <a:pt x="171250" y="223439"/>
                  </a:lnTo>
                  <a:lnTo>
                    <a:pt x="171889" y="217694"/>
                  </a:lnTo>
                  <a:lnTo>
                    <a:pt x="166777" y="212587"/>
                  </a:lnTo>
                  <a:cubicBezTo>
                    <a:pt x="164221" y="210033"/>
                    <a:pt x="163582" y="206203"/>
                    <a:pt x="165499" y="203011"/>
                  </a:cubicBezTo>
                  <a:lnTo>
                    <a:pt x="171250" y="191519"/>
                  </a:lnTo>
                  <a:cubicBezTo>
                    <a:pt x="173167" y="188327"/>
                    <a:pt x="176362" y="186412"/>
                    <a:pt x="180196" y="187051"/>
                  </a:cubicBezTo>
                  <a:lnTo>
                    <a:pt x="187225" y="188327"/>
                  </a:lnTo>
                  <a:lnTo>
                    <a:pt x="191698" y="184497"/>
                  </a:lnTo>
                  <a:lnTo>
                    <a:pt x="191059" y="177475"/>
                  </a:lnTo>
                  <a:cubicBezTo>
                    <a:pt x="191059" y="173644"/>
                    <a:pt x="192976" y="170452"/>
                    <a:pt x="196171" y="169176"/>
                  </a:cubicBezTo>
                  <a:lnTo>
                    <a:pt x="207673" y="164707"/>
                  </a:lnTo>
                  <a:cubicBezTo>
                    <a:pt x="210868" y="163430"/>
                    <a:pt x="214702" y="164068"/>
                    <a:pt x="217258" y="167260"/>
                  </a:cubicBezTo>
                  <a:lnTo>
                    <a:pt x="221731" y="173006"/>
                  </a:lnTo>
                  <a:lnTo>
                    <a:pt x="227482" y="173006"/>
                  </a:lnTo>
                  <a:lnTo>
                    <a:pt x="231955" y="167260"/>
                  </a:lnTo>
                  <a:cubicBezTo>
                    <a:pt x="233872" y="164068"/>
                    <a:pt x="238345" y="163430"/>
                    <a:pt x="241540" y="164068"/>
                  </a:cubicBezTo>
                  <a:lnTo>
                    <a:pt x="253681" y="167899"/>
                  </a:lnTo>
                  <a:cubicBezTo>
                    <a:pt x="256876" y="169176"/>
                    <a:pt x="259431" y="172368"/>
                    <a:pt x="259431" y="176198"/>
                  </a:cubicBezTo>
                  <a:lnTo>
                    <a:pt x="259431" y="183220"/>
                  </a:lnTo>
                  <a:lnTo>
                    <a:pt x="263904" y="186412"/>
                  </a:lnTo>
                  <a:lnTo>
                    <a:pt x="270933" y="185135"/>
                  </a:lnTo>
                  <a:cubicBezTo>
                    <a:pt x="274767" y="184497"/>
                    <a:pt x="277962" y="185774"/>
                    <a:pt x="280518" y="188966"/>
                  </a:cubicBezTo>
                  <a:lnTo>
                    <a:pt x="286908" y="199819"/>
                  </a:lnTo>
                  <a:cubicBezTo>
                    <a:pt x="288825" y="203011"/>
                    <a:pt x="288825" y="206841"/>
                    <a:pt x="286269" y="210033"/>
                  </a:cubicBezTo>
                  <a:lnTo>
                    <a:pt x="281796" y="215779"/>
                  </a:lnTo>
                  <a:lnTo>
                    <a:pt x="283074" y="221524"/>
                  </a:lnTo>
                  <a:lnTo>
                    <a:pt x="289464" y="224716"/>
                  </a:lnTo>
                  <a:cubicBezTo>
                    <a:pt x="292659" y="226631"/>
                    <a:pt x="294576" y="229823"/>
                    <a:pt x="293937" y="233654"/>
                  </a:cubicBezTo>
                  <a:lnTo>
                    <a:pt x="292020" y="245145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Graphic 4">
              <a:extLst>
                <a:ext uri="{FF2B5EF4-FFF2-40B4-BE49-F238E27FC236}">
                  <a16:creationId xmlns:a16="http://schemas.microsoft.com/office/drawing/2014/main" id="{5DA96212-C91D-B64D-86D0-564E377BC93F}"/>
                </a:ext>
              </a:extLst>
            </p:cNvPr>
            <p:cNvSpPr/>
            <p:nvPr/>
          </p:nvSpPr>
          <p:spPr>
            <a:xfrm>
              <a:off x="2058482" y="2473317"/>
              <a:ext cx="60110" cy="59726"/>
            </a:xfrm>
            <a:custGeom>
              <a:avLst/>
              <a:gdLst>
                <a:gd name="connsiteX0" fmla="*/ 54031 w 60110"/>
                <a:gd name="connsiteY0" fmla="*/ 11491 h 59726"/>
                <a:gd name="connsiteX1" fmla="*/ 34222 w 60110"/>
                <a:gd name="connsiteY1" fmla="*/ 0 h 59726"/>
                <a:gd name="connsiteX2" fmla="*/ 29749 w 60110"/>
                <a:gd name="connsiteY2" fmla="*/ 0 h 59726"/>
                <a:gd name="connsiteX3" fmla="*/ 356 w 60110"/>
                <a:gd name="connsiteY3" fmla="*/ 25536 h 59726"/>
                <a:gd name="connsiteX4" fmla="*/ 25915 w 60110"/>
                <a:gd name="connsiteY4" fmla="*/ 59371 h 59726"/>
                <a:gd name="connsiteX5" fmla="*/ 59782 w 60110"/>
                <a:gd name="connsiteY5" fmla="*/ 33835 h 59726"/>
                <a:gd name="connsiteX6" fmla="*/ 54031 w 60110"/>
                <a:gd name="connsiteY6" fmla="*/ 11491 h 59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110" h="59726">
                  <a:moveTo>
                    <a:pt x="54031" y="11491"/>
                  </a:moveTo>
                  <a:cubicBezTo>
                    <a:pt x="49558" y="5107"/>
                    <a:pt x="42529" y="638"/>
                    <a:pt x="34222" y="0"/>
                  </a:cubicBezTo>
                  <a:cubicBezTo>
                    <a:pt x="32944" y="0"/>
                    <a:pt x="31666" y="0"/>
                    <a:pt x="29749" y="0"/>
                  </a:cubicBezTo>
                  <a:cubicBezTo>
                    <a:pt x="15052" y="0"/>
                    <a:pt x="2273" y="10853"/>
                    <a:pt x="356" y="25536"/>
                  </a:cubicBezTo>
                  <a:cubicBezTo>
                    <a:pt x="-2201" y="41496"/>
                    <a:pt x="9301" y="56818"/>
                    <a:pt x="25915" y="59371"/>
                  </a:cubicBezTo>
                  <a:cubicBezTo>
                    <a:pt x="41890" y="61925"/>
                    <a:pt x="57226" y="50434"/>
                    <a:pt x="59782" y="33835"/>
                  </a:cubicBezTo>
                  <a:cubicBezTo>
                    <a:pt x="61060" y="26174"/>
                    <a:pt x="58504" y="17875"/>
                    <a:pt x="54031" y="11491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Graphic 4">
              <a:extLst>
                <a:ext uri="{FF2B5EF4-FFF2-40B4-BE49-F238E27FC236}">
                  <a16:creationId xmlns:a16="http://schemas.microsoft.com/office/drawing/2014/main" id="{38D91556-2460-9D42-8F3D-E3BE8D262154}"/>
                </a:ext>
              </a:extLst>
            </p:cNvPr>
            <p:cNvSpPr/>
            <p:nvPr/>
          </p:nvSpPr>
          <p:spPr>
            <a:xfrm>
              <a:off x="2124015" y="2548648"/>
              <a:ext cx="106712" cy="105974"/>
            </a:xfrm>
            <a:custGeom>
              <a:avLst/>
              <a:gdLst>
                <a:gd name="connsiteX0" fmla="*/ 99044 w 106712"/>
                <a:gd name="connsiteY0" fmla="*/ 48518 h 105974"/>
                <a:gd name="connsiteX1" fmla="*/ 96488 w 106712"/>
                <a:gd name="connsiteY1" fmla="*/ 37027 h 105974"/>
                <a:gd name="connsiteX2" fmla="*/ 97766 w 106712"/>
                <a:gd name="connsiteY2" fmla="*/ 31920 h 105974"/>
                <a:gd name="connsiteX3" fmla="*/ 102239 w 106712"/>
                <a:gd name="connsiteY3" fmla="*/ 26174 h 105974"/>
                <a:gd name="connsiteX4" fmla="*/ 99044 w 106712"/>
                <a:gd name="connsiteY4" fmla="*/ 20429 h 105974"/>
                <a:gd name="connsiteX5" fmla="*/ 92015 w 106712"/>
                <a:gd name="connsiteY5" fmla="*/ 22344 h 105974"/>
                <a:gd name="connsiteX6" fmla="*/ 86903 w 106712"/>
                <a:gd name="connsiteY6" fmla="*/ 21067 h 105974"/>
                <a:gd name="connsiteX7" fmla="*/ 77318 w 106712"/>
                <a:gd name="connsiteY7" fmla="*/ 14045 h 105974"/>
                <a:gd name="connsiteX8" fmla="*/ 74762 w 106712"/>
                <a:gd name="connsiteY8" fmla="*/ 8938 h 105974"/>
                <a:gd name="connsiteX9" fmla="*/ 74762 w 106712"/>
                <a:gd name="connsiteY9" fmla="*/ 1915 h 105974"/>
                <a:gd name="connsiteX10" fmla="*/ 68372 w 106712"/>
                <a:gd name="connsiteY10" fmla="*/ 0 h 105974"/>
                <a:gd name="connsiteX11" fmla="*/ 63899 w 106712"/>
                <a:gd name="connsiteY11" fmla="*/ 5746 h 105974"/>
                <a:gd name="connsiteX12" fmla="*/ 58788 w 106712"/>
                <a:gd name="connsiteY12" fmla="*/ 8299 h 105974"/>
                <a:gd name="connsiteX13" fmla="*/ 46647 w 106712"/>
                <a:gd name="connsiteY13" fmla="*/ 8938 h 105974"/>
                <a:gd name="connsiteX14" fmla="*/ 41535 w 106712"/>
                <a:gd name="connsiteY14" fmla="*/ 7022 h 105974"/>
                <a:gd name="connsiteX15" fmla="*/ 36423 w 106712"/>
                <a:gd name="connsiteY15" fmla="*/ 1277 h 105974"/>
                <a:gd name="connsiteX16" fmla="*/ 30033 w 106712"/>
                <a:gd name="connsiteY16" fmla="*/ 3830 h 105974"/>
                <a:gd name="connsiteX17" fmla="*/ 30672 w 106712"/>
                <a:gd name="connsiteY17" fmla="*/ 10853 h 105974"/>
                <a:gd name="connsiteX18" fmla="*/ 28755 w 106712"/>
                <a:gd name="connsiteY18" fmla="*/ 15960 h 105974"/>
                <a:gd name="connsiteX19" fmla="*/ 19809 w 106712"/>
                <a:gd name="connsiteY19" fmla="*/ 23621 h 105974"/>
                <a:gd name="connsiteX20" fmla="*/ 14697 w 106712"/>
                <a:gd name="connsiteY20" fmla="*/ 24897 h 105974"/>
                <a:gd name="connsiteX21" fmla="*/ 7668 w 106712"/>
                <a:gd name="connsiteY21" fmla="*/ 23621 h 105974"/>
                <a:gd name="connsiteX22" fmla="*/ 4473 w 106712"/>
                <a:gd name="connsiteY22" fmla="*/ 29366 h 105974"/>
                <a:gd name="connsiteX23" fmla="*/ 9585 w 106712"/>
                <a:gd name="connsiteY23" fmla="*/ 34473 h 105974"/>
                <a:gd name="connsiteX24" fmla="*/ 11502 w 106712"/>
                <a:gd name="connsiteY24" fmla="*/ 39581 h 105974"/>
                <a:gd name="connsiteX25" fmla="*/ 9585 w 106712"/>
                <a:gd name="connsiteY25" fmla="*/ 51072 h 105974"/>
                <a:gd name="connsiteX26" fmla="*/ 6390 w 106712"/>
                <a:gd name="connsiteY26" fmla="*/ 55541 h 105974"/>
                <a:gd name="connsiteX27" fmla="*/ 0 w 106712"/>
                <a:gd name="connsiteY27" fmla="*/ 59371 h 105974"/>
                <a:gd name="connsiteX28" fmla="*/ 1278 w 106712"/>
                <a:gd name="connsiteY28" fmla="*/ 65755 h 105974"/>
                <a:gd name="connsiteX29" fmla="*/ 8307 w 106712"/>
                <a:gd name="connsiteY29" fmla="*/ 66393 h 105974"/>
                <a:gd name="connsiteX30" fmla="*/ 12780 w 106712"/>
                <a:gd name="connsiteY30" fmla="*/ 69585 h 105974"/>
                <a:gd name="connsiteX31" fmla="*/ 19170 w 106712"/>
                <a:gd name="connsiteY31" fmla="*/ 79800 h 105974"/>
                <a:gd name="connsiteX32" fmla="*/ 19809 w 106712"/>
                <a:gd name="connsiteY32" fmla="*/ 85545 h 105974"/>
                <a:gd name="connsiteX33" fmla="*/ 17253 w 106712"/>
                <a:gd name="connsiteY33" fmla="*/ 92568 h 105974"/>
                <a:gd name="connsiteX34" fmla="*/ 22365 w 106712"/>
                <a:gd name="connsiteY34" fmla="*/ 96398 h 105974"/>
                <a:gd name="connsiteX35" fmla="*/ 28755 w 106712"/>
                <a:gd name="connsiteY35" fmla="*/ 92568 h 105974"/>
                <a:gd name="connsiteX36" fmla="*/ 31950 w 106712"/>
                <a:gd name="connsiteY36" fmla="*/ 91291 h 105974"/>
                <a:gd name="connsiteX37" fmla="*/ 33867 w 106712"/>
                <a:gd name="connsiteY37" fmla="*/ 91291 h 105974"/>
                <a:gd name="connsiteX38" fmla="*/ 45369 w 106712"/>
                <a:gd name="connsiteY38" fmla="*/ 95121 h 105974"/>
                <a:gd name="connsiteX39" fmla="*/ 49203 w 106712"/>
                <a:gd name="connsiteY39" fmla="*/ 98952 h 105974"/>
                <a:gd name="connsiteX40" fmla="*/ 51759 w 106712"/>
                <a:gd name="connsiteY40" fmla="*/ 105974 h 105974"/>
                <a:gd name="connsiteX41" fmla="*/ 58148 w 106712"/>
                <a:gd name="connsiteY41" fmla="*/ 105974 h 105974"/>
                <a:gd name="connsiteX42" fmla="*/ 60065 w 106712"/>
                <a:gd name="connsiteY42" fmla="*/ 98952 h 105974"/>
                <a:gd name="connsiteX43" fmla="*/ 63899 w 106712"/>
                <a:gd name="connsiteY43" fmla="*/ 95121 h 105974"/>
                <a:gd name="connsiteX44" fmla="*/ 74762 w 106712"/>
                <a:gd name="connsiteY44" fmla="*/ 90652 h 105974"/>
                <a:gd name="connsiteX45" fmla="*/ 80513 w 106712"/>
                <a:gd name="connsiteY45" fmla="*/ 90652 h 105974"/>
                <a:gd name="connsiteX46" fmla="*/ 86903 w 106712"/>
                <a:gd name="connsiteY46" fmla="*/ 94483 h 105974"/>
                <a:gd name="connsiteX47" fmla="*/ 92015 w 106712"/>
                <a:gd name="connsiteY47" fmla="*/ 90014 h 105974"/>
                <a:gd name="connsiteX48" fmla="*/ 88820 w 106712"/>
                <a:gd name="connsiteY48" fmla="*/ 82992 h 105974"/>
                <a:gd name="connsiteX49" fmla="*/ 88820 w 106712"/>
                <a:gd name="connsiteY49" fmla="*/ 77246 h 105974"/>
                <a:gd name="connsiteX50" fmla="*/ 94571 w 106712"/>
                <a:gd name="connsiteY50" fmla="*/ 67032 h 105974"/>
                <a:gd name="connsiteX51" fmla="*/ 99044 w 106712"/>
                <a:gd name="connsiteY51" fmla="*/ 63840 h 105974"/>
                <a:gd name="connsiteX52" fmla="*/ 106073 w 106712"/>
                <a:gd name="connsiteY52" fmla="*/ 62563 h 105974"/>
                <a:gd name="connsiteX53" fmla="*/ 106712 w 106712"/>
                <a:gd name="connsiteY53" fmla="*/ 56179 h 105974"/>
                <a:gd name="connsiteX54" fmla="*/ 100322 w 106712"/>
                <a:gd name="connsiteY54" fmla="*/ 52987 h 105974"/>
                <a:gd name="connsiteX55" fmla="*/ 99044 w 106712"/>
                <a:gd name="connsiteY55" fmla="*/ 48518 h 105974"/>
                <a:gd name="connsiteX56" fmla="*/ 97127 w 106712"/>
                <a:gd name="connsiteY56" fmla="*/ 57456 h 105974"/>
                <a:gd name="connsiteX57" fmla="*/ 54954 w 106712"/>
                <a:gd name="connsiteY57" fmla="*/ 93844 h 105974"/>
                <a:gd name="connsiteX58" fmla="*/ 49203 w 106712"/>
                <a:gd name="connsiteY58" fmla="*/ 93206 h 105974"/>
                <a:gd name="connsiteX59" fmla="*/ 12780 w 106712"/>
                <a:gd name="connsiteY59" fmla="*/ 45326 h 105974"/>
                <a:gd name="connsiteX60" fmla="*/ 60704 w 106712"/>
                <a:gd name="connsiteY60" fmla="*/ 8938 h 105974"/>
                <a:gd name="connsiteX61" fmla="*/ 97127 w 106712"/>
                <a:gd name="connsiteY61" fmla="*/ 57456 h 105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106712" h="105974">
                  <a:moveTo>
                    <a:pt x="99044" y="48518"/>
                  </a:moveTo>
                  <a:lnTo>
                    <a:pt x="96488" y="37027"/>
                  </a:lnTo>
                  <a:cubicBezTo>
                    <a:pt x="95849" y="35112"/>
                    <a:pt x="96488" y="33197"/>
                    <a:pt x="97766" y="31920"/>
                  </a:cubicBezTo>
                  <a:lnTo>
                    <a:pt x="102239" y="26174"/>
                  </a:lnTo>
                  <a:lnTo>
                    <a:pt x="99044" y="20429"/>
                  </a:lnTo>
                  <a:lnTo>
                    <a:pt x="92015" y="22344"/>
                  </a:lnTo>
                  <a:cubicBezTo>
                    <a:pt x="90098" y="22982"/>
                    <a:pt x="88181" y="22344"/>
                    <a:pt x="86903" y="21067"/>
                  </a:cubicBezTo>
                  <a:lnTo>
                    <a:pt x="77318" y="14045"/>
                  </a:lnTo>
                  <a:cubicBezTo>
                    <a:pt x="76040" y="12768"/>
                    <a:pt x="74762" y="10853"/>
                    <a:pt x="74762" y="8938"/>
                  </a:cubicBezTo>
                  <a:lnTo>
                    <a:pt x="74762" y="1915"/>
                  </a:lnTo>
                  <a:lnTo>
                    <a:pt x="68372" y="0"/>
                  </a:lnTo>
                  <a:lnTo>
                    <a:pt x="63899" y="5746"/>
                  </a:lnTo>
                  <a:cubicBezTo>
                    <a:pt x="62622" y="7022"/>
                    <a:pt x="60704" y="8299"/>
                    <a:pt x="58788" y="8299"/>
                  </a:cubicBezTo>
                  <a:lnTo>
                    <a:pt x="46647" y="8938"/>
                  </a:lnTo>
                  <a:cubicBezTo>
                    <a:pt x="44730" y="8938"/>
                    <a:pt x="42813" y="8299"/>
                    <a:pt x="41535" y="7022"/>
                  </a:cubicBezTo>
                  <a:lnTo>
                    <a:pt x="36423" y="1277"/>
                  </a:lnTo>
                  <a:lnTo>
                    <a:pt x="30033" y="3830"/>
                  </a:lnTo>
                  <a:lnTo>
                    <a:pt x="30672" y="10853"/>
                  </a:lnTo>
                  <a:cubicBezTo>
                    <a:pt x="30672" y="12768"/>
                    <a:pt x="30033" y="14683"/>
                    <a:pt x="28755" y="15960"/>
                  </a:cubicBezTo>
                  <a:lnTo>
                    <a:pt x="19809" y="23621"/>
                  </a:lnTo>
                  <a:cubicBezTo>
                    <a:pt x="18531" y="24897"/>
                    <a:pt x="16614" y="25536"/>
                    <a:pt x="14697" y="24897"/>
                  </a:cubicBezTo>
                  <a:lnTo>
                    <a:pt x="7668" y="23621"/>
                  </a:lnTo>
                  <a:lnTo>
                    <a:pt x="4473" y="29366"/>
                  </a:lnTo>
                  <a:lnTo>
                    <a:pt x="9585" y="34473"/>
                  </a:lnTo>
                  <a:cubicBezTo>
                    <a:pt x="10863" y="35750"/>
                    <a:pt x="11502" y="37665"/>
                    <a:pt x="11502" y="39581"/>
                  </a:cubicBezTo>
                  <a:lnTo>
                    <a:pt x="9585" y="51072"/>
                  </a:lnTo>
                  <a:cubicBezTo>
                    <a:pt x="9585" y="52987"/>
                    <a:pt x="8307" y="54902"/>
                    <a:pt x="6390" y="55541"/>
                  </a:cubicBezTo>
                  <a:lnTo>
                    <a:pt x="0" y="59371"/>
                  </a:lnTo>
                  <a:lnTo>
                    <a:pt x="1278" y="65755"/>
                  </a:lnTo>
                  <a:lnTo>
                    <a:pt x="8307" y="66393"/>
                  </a:lnTo>
                  <a:cubicBezTo>
                    <a:pt x="10224" y="66393"/>
                    <a:pt x="12141" y="67670"/>
                    <a:pt x="12780" y="69585"/>
                  </a:cubicBezTo>
                  <a:lnTo>
                    <a:pt x="19170" y="79800"/>
                  </a:lnTo>
                  <a:cubicBezTo>
                    <a:pt x="20448" y="81715"/>
                    <a:pt x="20448" y="83630"/>
                    <a:pt x="19809" y="85545"/>
                  </a:cubicBezTo>
                  <a:lnTo>
                    <a:pt x="17253" y="92568"/>
                  </a:lnTo>
                  <a:lnTo>
                    <a:pt x="22365" y="96398"/>
                  </a:lnTo>
                  <a:lnTo>
                    <a:pt x="28755" y="92568"/>
                  </a:lnTo>
                  <a:cubicBezTo>
                    <a:pt x="30033" y="91929"/>
                    <a:pt x="31311" y="91291"/>
                    <a:pt x="31950" y="91291"/>
                  </a:cubicBezTo>
                  <a:cubicBezTo>
                    <a:pt x="32589" y="91291"/>
                    <a:pt x="33228" y="91291"/>
                    <a:pt x="33867" y="91291"/>
                  </a:cubicBezTo>
                  <a:lnTo>
                    <a:pt x="45369" y="95121"/>
                  </a:lnTo>
                  <a:cubicBezTo>
                    <a:pt x="47285" y="95760"/>
                    <a:pt x="48564" y="97036"/>
                    <a:pt x="49203" y="98952"/>
                  </a:cubicBezTo>
                  <a:lnTo>
                    <a:pt x="51759" y="105974"/>
                  </a:lnTo>
                  <a:lnTo>
                    <a:pt x="58148" y="105974"/>
                  </a:lnTo>
                  <a:lnTo>
                    <a:pt x="60065" y="98952"/>
                  </a:lnTo>
                  <a:cubicBezTo>
                    <a:pt x="60704" y="97036"/>
                    <a:pt x="61982" y="95760"/>
                    <a:pt x="63899" y="95121"/>
                  </a:cubicBezTo>
                  <a:lnTo>
                    <a:pt x="74762" y="90652"/>
                  </a:lnTo>
                  <a:cubicBezTo>
                    <a:pt x="76679" y="90014"/>
                    <a:pt x="78596" y="90014"/>
                    <a:pt x="80513" y="90652"/>
                  </a:cubicBezTo>
                  <a:lnTo>
                    <a:pt x="86903" y="94483"/>
                  </a:lnTo>
                  <a:lnTo>
                    <a:pt x="92015" y="90014"/>
                  </a:lnTo>
                  <a:lnTo>
                    <a:pt x="88820" y="82992"/>
                  </a:lnTo>
                  <a:cubicBezTo>
                    <a:pt x="88181" y="81076"/>
                    <a:pt x="88181" y="79161"/>
                    <a:pt x="88820" y="77246"/>
                  </a:cubicBezTo>
                  <a:lnTo>
                    <a:pt x="94571" y="67032"/>
                  </a:lnTo>
                  <a:cubicBezTo>
                    <a:pt x="95210" y="65117"/>
                    <a:pt x="97127" y="63840"/>
                    <a:pt x="99044" y="63840"/>
                  </a:cubicBezTo>
                  <a:lnTo>
                    <a:pt x="106073" y="62563"/>
                  </a:lnTo>
                  <a:lnTo>
                    <a:pt x="106712" y="56179"/>
                  </a:lnTo>
                  <a:lnTo>
                    <a:pt x="100322" y="52987"/>
                  </a:lnTo>
                  <a:cubicBezTo>
                    <a:pt x="100322" y="52349"/>
                    <a:pt x="99683" y="50433"/>
                    <a:pt x="99044" y="48518"/>
                  </a:cubicBezTo>
                  <a:close/>
                  <a:moveTo>
                    <a:pt x="97127" y="57456"/>
                  </a:moveTo>
                  <a:cubicBezTo>
                    <a:pt x="93932" y="78523"/>
                    <a:pt x="76040" y="93844"/>
                    <a:pt x="54954" y="93844"/>
                  </a:cubicBezTo>
                  <a:cubicBezTo>
                    <a:pt x="53037" y="93844"/>
                    <a:pt x="51119" y="93844"/>
                    <a:pt x="49203" y="93206"/>
                  </a:cubicBezTo>
                  <a:cubicBezTo>
                    <a:pt x="26199" y="90014"/>
                    <a:pt x="9585" y="68308"/>
                    <a:pt x="12780" y="45326"/>
                  </a:cubicBezTo>
                  <a:cubicBezTo>
                    <a:pt x="15975" y="22344"/>
                    <a:pt x="37701" y="5746"/>
                    <a:pt x="60704" y="8938"/>
                  </a:cubicBezTo>
                  <a:cubicBezTo>
                    <a:pt x="84347" y="12768"/>
                    <a:pt x="100322" y="34473"/>
                    <a:pt x="97127" y="57456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Graphic 4">
            <a:extLst>
              <a:ext uri="{FF2B5EF4-FFF2-40B4-BE49-F238E27FC236}">
                <a16:creationId xmlns:a16="http://schemas.microsoft.com/office/drawing/2014/main" id="{B60086D9-DE79-0043-9AF0-83A52C438227}"/>
              </a:ext>
            </a:extLst>
          </p:cNvPr>
          <p:cNvGrpSpPr>
            <a:grpSpLocks noChangeAspect="1"/>
          </p:cNvGrpSpPr>
          <p:nvPr/>
        </p:nvGrpSpPr>
        <p:grpSpPr>
          <a:xfrm>
            <a:off x="8163143" y="2173326"/>
            <a:ext cx="706594" cy="705936"/>
            <a:chOff x="8239823" y="4792617"/>
            <a:chExt cx="361670" cy="361333"/>
          </a:xfrm>
          <a:solidFill>
            <a:srgbClr val="0076A8"/>
          </a:solidFill>
        </p:grpSpPr>
        <p:sp>
          <p:nvSpPr>
            <p:cNvPr id="40" name="Graphic 4">
              <a:extLst>
                <a:ext uri="{FF2B5EF4-FFF2-40B4-BE49-F238E27FC236}">
                  <a16:creationId xmlns:a16="http://schemas.microsoft.com/office/drawing/2014/main" id="{B4C37C59-A7C3-3E45-9014-F20D08055FC6}"/>
                </a:ext>
              </a:extLst>
            </p:cNvPr>
            <p:cNvSpPr/>
            <p:nvPr/>
          </p:nvSpPr>
          <p:spPr>
            <a:xfrm>
              <a:off x="8372734" y="5014780"/>
              <a:ext cx="38339" cy="29366"/>
            </a:xfrm>
            <a:custGeom>
              <a:avLst/>
              <a:gdLst>
                <a:gd name="connsiteX0" fmla="*/ 19170 w 38339"/>
                <a:gd name="connsiteY0" fmla="*/ 24897 h 29366"/>
                <a:gd name="connsiteX1" fmla="*/ 23642 w 38339"/>
                <a:gd name="connsiteY1" fmla="*/ 21705 h 29366"/>
                <a:gd name="connsiteX2" fmla="*/ 31310 w 38339"/>
                <a:gd name="connsiteY2" fmla="*/ 14683 h 29366"/>
                <a:gd name="connsiteX3" fmla="*/ 35783 w 38339"/>
                <a:gd name="connsiteY3" fmla="*/ 9576 h 29366"/>
                <a:gd name="connsiteX4" fmla="*/ 38340 w 38339"/>
                <a:gd name="connsiteY4" fmla="*/ 5107 h 29366"/>
                <a:gd name="connsiteX5" fmla="*/ 38340 w 38339"/>
                <a:gd name="connsiteY5" fmla="*/ 3192 h 29366"/>
                <a:gd name="connsiteX6" fmla="*/ 32589 w 38339"/>
                <a:gd name="connsiteY6" fmla="*/ 0 h 29366"/>
                <a:gd name="connsiteX7" fmla="*/ 31950 w 38339"/>
                <a:gd name="connsiteY7" fmla="*/ 0 h 29366"/>
                <a:gd name="connsiteX8" fmla="*/ 0 w 38339"/>
                <a:gd name="connsiteY8" fmla="*/ 26812 h 29366"/>
                <a:gd name="connsiteX9" fmla="*/ 12780 w 38339"/>
                <a:gd name="connsiteY9" fmla="*/ 29366 h 29366"/>
                <a:gd name="connsiteX10" fmla="*/ 19170 w 38339"/>
                <a:gd name="connsiteY10" fmla="*/ 24897 h 2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339" h="29366">
                  <a:moveTo>
                    <a:pt x="19170" y="24897"/>
                  </a:moveTo>
                  <a:cubicBezTo>
                    <a:pt x="20447" y="23620"/>
                    <a:pt x="21725" y="22982"/>
                    <a:pt x="23642" y="21705"/>
                  </a:cubicBezTo>
                  <a:lnTo>
                    <a:pt x="31310" y="14683"/>
                  </a:lnTo>
                  <a:cubicBezTo>
                    <a:pt x="32589" y="13406"/>
                    <a:pt x="34505" y="11491"/>
                    <a:pt x="35783" y="9576"/>
                  </a:cubicBezTo>
                  <a:cubicBezTo>
                    <a:pt x="35783" y="7660"/>
                    <a:pt x="37061" y="6384"/>
                    <a:pt x="38340" y="5107"/>
                  </a:cubicBezTo>
                  <a:cubicBezTo>
                    <a:pt x="38340" y="4468"/>
                    <a:pt x="38340" y="3830"/>
                    <a:pt x="38340" y="3192"/>
                  </a:cubicBezTo>
                  <a:cubicBezTo>
                    <a:pt x="35783" y="638"/>
                    <a:pt x="33866" y="0"/>
                    <a:pt x="32589" y="0"/>
                  </a:cubicBezTo>
                  <a:cubicBezTo>
                    <a:pt x="32589" y="0"/>
                    <a:pt x="32589" y="0"/>
                    <a:pt x="31950" y="0"/>
                  </a:cubicBezTo>
                  <a:lnTo>
                    <a:pt x="0" y="26812"/>
                  </a:lnTo>
                  <a:cubicBezTo>
                    <a:pt x="3195" y="28089"/>
                    <a:pt x="10863" y="29366"/>
                    <a:pt x="12780" y="29366"/>
                  </a:cubicBezTo>
                  <a:cubicBezTo>
                    <a:pt x="13419" y="29366"/>
                    <a:pt x="17253" y="26812"/>
                    <a:pt x="19170" y="24897"/>
                  </a:cubicBezTo>
                  <a:close/>
                </a:path>
              </a:pathLst>
            </a:custGeom>
            <a:solidFill>
              <a:srgbClr val="0076A8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Graphic 4">
              <a:extLst>
                <a:ext uri="{FF2B5EF4-FFF2-40B4-BE49-F238E27FC236}">
                  <a16:creationId xmlns:a16="http://schemas.microsoft.com/office/drawing/2014/main" id="{B384E2D8-8960-8445-AAA5-0E075EF65816}"/>
                </a:ext>
              </a:extLst>
            </p:cNvPr>
            <p:cNvSpPr/>
            <p:nvPr/>
          </p:nvSpPr>
          <p:spPr>
            <a:xfrm>
              <a:off x="8347075" y="4989907"/>
              <a:ext cx="55447" cy="44746"/>
            </a:xfrm>
            <a:custGeom>
              <a:avLst/>
              <a:gdLst>
                <a:gd name="connsiteX0" fmla="*/ 14157 w 55447"/>
                <a:gd name="connsiteY0" fmla="*/ 44664 h 44746"/>
                <a:gd name="connsiteX1" fmla="*/ 51219 w 55447"/>
                <a:gd name="connsiteY1" fmla="*/ 13382 h 44746"/>
                <a:gd name="connsiteX2" fmla="*/ 51857 w 55447"/>
                <a:gd name="connsiteY2" fmla="*/ 12744 h 44746"/>
                <a:gd name="connsiteX3" fmla="*/ 52496 w 55447"/>
                <a:gd name="connsiteY3" fmla="*/ 12106 h 44746"/>
                <a:gd name="connsiteX4" fmla="*/ 53774 w 55447"/>
                <a:gd name="connsiteY4" fmla="*/ 2530 h 44746"/>
                <a:gd name="connsiteX5" fmla="*/ 44189 w 55447"/>
                <a:gd name="connsiteY5" fmla="*/ 1891 h 44746"/>
                <a:gd name="connsiteX6" fmla="*/ 36521 w 55447"/>
                <a:gd name="connsiteY6" fmla="*/ 6998 h 44746"/>
                <a:gd name="connsiteX7" fmla="*/ 35883 w 55447"/>
                <a:gd name="connsiteY7" fmla="*/ 7637 h 44746"/>
                <a:gd name="connsiteX8" fmla="*/ 3294 w 55447"/>
                <a:gd name="connsiteY8" fmla="*/ 34450 h 44746"/>
                <a:gd name="connsiteX9" fmla="*/ 738 w 55447"/>
                <a:gd name="connsiteY9" fmla="*/ 36365 h 44746"/>
                <a:gd name="connsiteX10" fmla="*/ 738 w 55447"/>
                <a:gd name="connsiteY10" fmla="*/ 36365 h 44746"/>
                <a:gd name="connsiteX11" fmla="*/ 738 w 55447"/>
                <a:gd name="connsiteY11" fmla="*/ 39557 h 44746"/>
                <a:gd name="connsiteX12" fmla="*/ 14157 w 55447"/>
                <a:gd name="connsiteY12" fmla="*/ 44664 h 44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5447" h="44746">
                  <a:moveTo>
                    <a:pt x="14157" y="44664"/>
                  </a:moveTo>
                  <a:lnTo>
                    <a:pt x="51219" y="13382"/>
                  </a:lnTo>
                  <a:cubicBezTo>
                    <a:pt x="51219" y="13382"/>
                    <a:pt x="51219" y="13382"/>
                    <a:pt x="51857" y="12744"/>
                  </a:cubicBezTo>
                  <a:cubicBezTo>
                    <a:pt x="51857" y="12106"/>
                    <a:pt x="52496" y="12106"/>
                    <a:pt x="52496" y="12106"/>
                  </a:cubicBezTo>
                  <a:cubicBezTo>
                    <a:pt x="55052" y="9552"/>
                    <a:pt x="56969" y="5722"/>
                    <a:pt x="53774" y="2530"/>
                  </a:cubicBezTo>
                  <a:cubicBezTo>
                    <a:pt x="50579" y="-1939"/>
                    <a:pt x="46106" y="614"/>
                    <a:pt x="44189" y="1891"/>
                  </a:cubicBezTo>
                  <a:lnTo>
                    <a:pt x="36521" y="6998"/>
                  </a:lnTo>
                  <a:cubicBezTo>
                    <a:pt x="36521" y="6998"/>
                    <a:pt x="36521" y="6998"/>
                    <a:pt x="35883" y="7637"/>
                  </a:cubicBezTo>
                  <a:lnTo>
                    <a:pt x="3294" y="34450"/>
                  </a:lnTo>
                  <a:cubicBezTo>
                    <a:pt x="2655" y="35088"/>
                    <a:pt x="1377" y="35726"/>
                    <a:pt x="738" y="36365"/>
                  </a:cubicBezTo>
                  <a:cubicBezTo>
                    <a:pt x="738" y="36365"/>
                    <a:pt x="738" y="36365"/>
                    <a:pt x="738" y="36365"/>
                  </a:cubicBezTo>
                  <a:cubicBezTo>
                    <a:pt x="99" y="37003"/>
                    <a:pt x="-540" y="37642"/>
                    <a:pt x="738" y="39557"/>
                  </a:cubicBezTo>
                  <a:cubicBezTo>
                    <a:pt x="3294" y="42110"/>
                    <a:pt x="9684" y="45302"/>
                    <a:pt x="14157" y="44664"/>
                  </a:cubicBezTo>
                  <a:close/>
                </a:path>
              </a:pathLst>
            </a:custGeom>
            <a:solidFill>
              <a:srgbClr val="0076A8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Graphic 4">
              <a:extLst>
                <a:ext uri="{FF2B5EF4-FFF2-40B4-BE49-F238E27FC236}">
                  <a16:creationId xmlns:a16="http://schemas.microsoft.com/office/drawing/2014/main" id="{11F2CD5B-DC5B-F44E-B1DC-23B1C4806787}"/>
                </a:ext>
              </a:extLst>
            </p:cNvPr>
            <p:cNvSpPr/>
            <p:nvPr/>
          </p:nvSpPr>
          <p:spPr>
            <a:xfrm>
              <a:off x="8329921" y="4983499"/>
              <a:ext cx="42173" cy="31571"/>
            </a:xfrm>
            <a:custGeom>
              <a:avLst/>
              <a:gdLst>
                <a:gd name="connsiteX0" fmla="*/ 10863 w 42173"/>
                <a:gd name="connsiteY0" fmla="*/ 31282 h 31571"/>
                <a:gd name="connsiteX1" fmla="*/ 11502 w 42173"/>
                <a:gd name="connsiteY1" fmla="*/ 30643 h 31571"/>
                <a:gd name="connsiteX2" fmla="*/ 11502 w 42173"/>
                <a:gd name="connsiteY2" fmla="*/ 30643 h 31571"/>
                <a:gd name="connsiteX3" fmla="*/ 42173 w 42173"/>
                <a:gd name="connsiteY3" fmla="*/ 5107 h 31571"/>
                <a:gd name="connsiteX4" fmla="*/ 42173 w 42173"/>
                <a:gd name="connsiteY4" fmla="*/ 5107 h 31571"/>
                <a:gd name="connsiteX5" fmla="*/ 40896 w 42173"/>
                <a:gd name="connsiteY5" fmla="*/ 3192 h 31571"/>
                <a:gd name="connsiteX6" fmla="*/ 35145 w 42173"/>
                <a:gd name="connsiteY6" fmla="*/ 0 h 31571"/>
                <a:gd name="connsiteX7" fmla="*/ 30033 w 42173"/>
                <a:gd name="connsiteY7" fmla="*/ 1915 h 31571"/>
                <a:gd name="connsiteX8" fmla="*/ 639 w 42173"/>
                <a:gd name="connsiteY8" fmla="*/ 21067 h 31571"/>
                <a:gd name="connsiteX9" fmla="*/ 0 w 42173"/>
                <a:gd name="connsiteY9" fmla="*/ 22982 h 31571"/>
                <a:gd name="connsiteX10" fmla="*/ 639 w 42173"/>
                <a:gd name="connsiteY10" fmla="*/ 26813 h 31571"/>
                <a:gd name="connsiteX11" fmla="*/ 10863 w 42173"/>
                <a:gd name="connsiteY11" fmla="*/ 31282 h 31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2173" h="31571">
                  <a:moveTo>
                    <a:pt x="10863" y="31282"/>
                  </a:moveTo>
                  <a:cubicBezTo>
                    <a:pt x="11502" y="31282"/>
                    <a:pt x="11502" y="31282"/>
                    <a:pt x="11502" y="30643"/>
                  </a:cubicBezTo>
                  <a:cubicBezTo>
                    <a:pt x="11502" y="30643"/>
                    <a:pt x="11502" y="30643"/>
                    <a:pt x="11502" y="30643"/>
                  </a:cubicBezTo>
                  <a:lnTo>
                    <a:pt x="42173" y="5107"/>
                  </a:lnTo>
                  <a:cubicBezTo>
                    <a:pt x="42173" y="5107"/>
                    <a:pt x="42173" y="5107"/>
                    <a:pt x="42173" y="5107"/>
                  </a:cubicBezTo>
                  <a:cubicBezTo>
                    <a:pt x="42173" y="4469"/>
                    <a:pt x="41535" y="3830"/>
                    <a:pt x="40896" y="3192"/>
                  </a:cubicBezTo>
                  <a:cubicBezTo>
                    <a:pt x="38978" y="638"/>
                    <a:pt x="37062" y="0"/>
                    <a:pt x="35145" y="0"/>
                  </a:cubicBezTo>
                  <a:cubicBezTo>
                    <a:pt x="33228" y="0"/>
                    <a:pt x="31311" y="1277"/>
                    <a:pt x="30033" y="1915"/>
                  </a:cubicBezTo>
                  <a:lnTo>
                    <a:pt x="639" y="21067"/>
                  </a:lnTo>
                  <a:cubicBezTo>
                    <a:pt x="639" y="21067"/>
                    <a:pt x="0" y="21706"/>
                    <a:pt x="0" y="22982"/>
                  </a:cubicBezTo>
                  <a:cubicBezTo>
                    <a:pt x="0" y="24259"/>
                    <a:pt x="0" y="26174"/>
                    <a:pt x="639" y="26813"/>
                  </a:cubicBezTo>
                  <a:cubicBezTo>
                    <a:pt x="5751" y="31920"/>
                    <a:pt x="9585" y="31920"/>
                    <a:pt x="10863" y="31282"/>
                  </a:cubicBezTo>
                  <a:close/>
                </a:path>
              </a:pathLst>
            </a:custGeom>
            <a:solidFill>
              <a:srgbClr val="0076A8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Graphic 4">
              <a:extLst>
                <a:ext uri="{FF2B5EF4-FFF2-40B4-BE49-F238E27FC236}">
                  <a16:creationId xmlns:a16="http://schemas.microsoft.com/office/drawing/2014/main" id="{273247E1-E05D-8248-B69A-9EC8687A7DC3}"/>
                </a:ext>
              </a:extLst>
            </p:cNvPr>
            <p:cNvSpPr/>
            <p:nvPr/>
          </p:nvSpPr>
          <p:spPr>
            <a:xfrm>
              <a:off x="8398933" y="5032017"/>
              <a:ext cx="24540" cy="21067"/>
            </a:xfrm>
            <a:custGeom>
              <a:avLst/>
              <a:gdLst>
                <a:gd name="connsiteX0" fmla="*/ 24281 w 24540"/>
                <a:gd name="connsiteY0" fmla="*/ 3192 h 21067"/>
                <a:gd name="connsiteX1" fmla="*/ 19170 w 24540"/>
                <a:gd name="connsiteY1" fmla="*/ 0 h 21067"/>
                <a:gd name="connsiteX2" fmla="*/ 13419 w 24540"/>
                <a:gd name="connsiteY2" fmla="*/ 6384 h 21067"/>
                <a:gd name="connsiteX3" fmla="*/ 5751 w 24540"/>
                <a:gd name="connsiteY3" fmla="*/ 14045 h 21067"/>
                <a:gd name="connsiteX4" fmla="*/ 5111 w 24540"/>
                <a:gd name="connsiteY4" fmla="*/ 14683 h 21067"/>
                <a:gd name="connsiteX5" fmla="*/ 1278 w 24540"/>
                <a:gd name="connsiteY5" fmla="*/ 17875 h 21067"/>
                <a:gd name="connsiteX6" fmla="*/ 0 w 24540"/>
                <a:gd name="connsiteY6" fmla="*/ 19152 h 21067"/>
                <a:gd name="connsiteX7" fmla="*/ 7668 w 24540"/>
                <a:gd name="connsiteY7" fmla="*/ 21067 h 21067"/>
                <a:gd name="connsiteX8" fmla="*/ 20447 w 24540"/>
                <a:gd name="connsiteY8" fmla="*/ 10215 h 21067"/>
                <a:gd name="connsiteX9" fmla="*/ 21086 w 24540"/>
                <a:gd name="connsiteY9" fmla="*/ 9576 h 21067"/>
                <a:gd name="connsiteX10" fmla="*/ 24281 w 24540"/>
                <a:gd name="connsiteY10" fmla="*/ 3192 h 21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540" h="21067">
                  <a:moveTo>
                    <a:pt x="24281" y="3192"/>
                  </a:moveTo>
                  <a:cubicBezTo>
                    <a:pt x="22365" y="1277"/>
                    <a:pt x="20447" y="639"/>
                    <a:pt x="19170" y="0"/>
                  </a:cubicBezTo>
                  <a:cubicBezTo>
                    <a:pt x="17253" y="2554"/>
                    <a:pt x="14696" y="5107"/>
                    <a:pt x="13419" y="6384"/>
                  </a:cubicBezTo>
                  <a:lnTo>
                    <a:pt x="5751" y="14045"/>
                  </a:lnTo>
                  <a:cubicBezTo>
                    <a:pt x="5751" y="14045"/>
                    <a:pt x="5111" y="14683"/>
                    <a:pt x="5111" y="14683"/>
                  </a:cubicBezTo>
                  <a:cubicBezTo>
                    <a:pt x="3834" y="15960"/>
                    <a:pt x="2556" y="16599"/>
                    <a:pt x="1278" y="17875"/>
                  </a:cubicBezTo>
                  <a:cubicBezTo>
                    <a:pt x="639" y="18514"/>
                    <a:pt x="0" y="18514"/>
                    <a:pt x="0" y="19152"/>
                  </a:cubicBezTo>
                  <a:cubicBezTo>
                    <a:pt x="1917" y="20429"/>
                    <a:pt x="4473" y="21067"/>
                    <a:pt x="7668" y="21067"/>
                  </a:cubicBezTo>
                  <a:cubicBezTo>
                    <a:pt x="8946" y="21067"/>
                    <a:pt x="12141" y="19152"/>
                    <a:pt x="20447" y="10215"/>
                  </a:cubicBezTo>
                  <a:lnTo>
                    <a:pt x="21086" y="9576"/>
                  </a:lnTo>
                  <a:cubicBezTo>
                    <a:pt x="21726" y="8299"/>
                    <a:pt x="25560" y="4469"/>
                    <a:pt x="24281" y="3192"/>
                  </a:cubicBezTo>
                  <a:close/>
                </a:path>
              </a:pathLst>
            </a:custGeom>
            <a:solidFill>
              <a:srgbClr val="0076A8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Graphic 4">
              <a:extLst>
                <a:ext uri="{FF2B5EF4-FFF2-40B4-BE49-F238E27FC236}">
                  <a16:creationId xmlns:a16="http://schemas.microsoft.com/office/drawing/2014/main" id="{3D22B0DD-7B6A-F64C-8218-42B0323C62B4}"/>
                </a:ext>
              </a:extLst>
            </p:cNvPr>
            <p:cNvSpPr/>
            <p:nvPr/>
          </p:nvSpPr>
          <p:spPr>
            <a:xfrm>
              <a:off x="8239823" y="4792617"/>
              <a:ext cx="361670" cy="361333"/>
            </a:xfrm>
            <a:custGeom>
              <a:avLst/>
              <a:gdLst>
                <a:gd name="connsiteX0" fmla="*/ 180836 w 361670"/>
                <a:gd name="connsiteY0" fmla="*/ 0 h 361333"/>
                <a:gd name="connsiteX1" fmla="*/ 0 w 361670"/>
                <a:gd name="connsiteY1" fmla="*/ 180667 h 361333"/>
                <a:gd name="connsiteX2" fmla="*/ 180836 w 361670"/>
                <a:gd name="connsiteY2" fmla="*/ 361334 h 361333"/>
                <a:gd name="connsiteX3" fmla="*/ 361670 w 361670"/>
                <a:gd name="connsiteY3" fmla="*/ 180667 h 361333"/>
                <a:gd name="connsiteX4" fmla="*/ 180836 w 361670"/>
                <a:gd name="connsiteY4" fmla="*/ 0 h 361333"/>
                <a:gd name="connsiteX5" fmla="*/ 306078 w 361670"/>
                <a:gd name="connsiteY5" fmla="*/ 185774 h 361333"/>
                <a:gd name="connsiteX6" fmla="*/ 282435 w 361670"/>
                <a:gd name="connsiteY6" fmla="*/ 195350 h 361333"/>
                <a:gd name="connsiteX7" fmla="*/ 283713 w 361670"/>
                <a:gd name="connsiteY7" fmla="*/ 201734 h 361333"/>
                <a:gd name="connsiteX8" fmla="*/ 277323 w 361670"/>
                <a:gd name="connsiteY8" fmla="*/ 213225 h 361333"/>
                <a:gd name="connsiteX9" fmla="*/ 276045 w 361670"/>
                <a:gd name="connsiteY9" fmla="*/ 213863 h 361333"/>
                <a:gd name="connsiteX10" fmla="*/ 267739 w 361670"/>
                <a:gd name="connsiteY10" fmla="*/ 218971 h 361333"/>
                <a:gd name="connsiteX11" fmla="*/ 267739 w 361670"/>
                <a:gd name="connsiteY11" fmla="*/ 220247 h 361333"/>
                <a:gd name="connsiteX12" fmla="*/ 260070 w 361670"/>
                <a:gd name="connsiteY12" fmla="*/ 233654 h 361333"/>
                <a:gd name="connsiteX13" fmla="*/ 247290 w 361670"/>
                <a:gd name="connsiteY13" fmla="*/ 240038 h 361333"/>
                <a:gd name="connsiteX14" fmla="*/ 246651 w 361670"/>
                <a:gd name="connsiteY14" fmla="*/ 240038 h 361333"/>
                <a:gd name="connsiteX15" fmla="*/ 244735 w 361670"/>
                <a:gd name="connsiteY15" fmla="*/ 239399 h 361333"/>
                <a:gd name="connsiteX16" fmla="*/ 238345 w 361670"/>
                <a:gd name="connsiteY16" fmla="*/ 247060 h 361333"/>
                <a:gd name="connsiteX17" fmla="*/ 225565 w 361670"/>
                <a:gd name="connsiteY17" fmla="*/ 253444 h 361333"/>
                <a:gd name="connsiteX18" fmla="*/ 224925 w 361670"/>
                <a:gd name="connsiteY18" fmla="*/ 253444 h 361333"/>
                <a:gd name="connsiteX19" fmla="*/ 218536 w 361670"/>
                <a:gd name="connsiteY19" fmla="*/ 250891 h 361333"/>
                <a:gd name="connsiteX20" fmla="*/ 217258 w 361670"/>
                <a:gd name="connsiteY20" fmla="*/ 252167 h 361333"/>
                <a:gd name="connsiteX21" fmla="*/ 201922 w 361670"/>
                <a:gd name="connsiteY21" fmla="*/ 261105 h 361333"/>
                <a:gd name="connsiteX22" fmla="*/ 201283 w 361670"/>
                <a:gd name="connsiteY22" fmla="*/ 261105 h 361333"/>
                <a:gd name="connsiteX23" fmla="*/ 189142 w 361670"/>
                <a:gd name="connsiteY23" fmla="*/ 255998 h 361333"/>
                <a:gd name="connsiteX24" fmla="*/ 189142 w 361670"/>
                <a:gd name="connsiteY24" fmla="*/ 255998 h 361333"/>
                <a:gd name="connsiteX25" fmla="*/ 187864 w 361670"/>
                <a:gd name="connsiteY25" fmla="*/ 257275 h 361333"/>
                <a:gd name="connsiteX26" fmla="*/ 187225 w 361670"/>
                <a:gd name="connsiteY26" fmla="*/ 257913 h 361333"/>
                <a:gd name="connsiteX27" fmla="*/ 166138 w 361670"/>
                <a:gd name="connsiteY27" fmla="*/ 272596 h 361333"/>
                <a:gd name="connsiteX28" fmla="*/ 164221 w 361670"/>
                <a:gd name="connsiteY28" fmla="*/ 272596 h 361333"/>
                <a:gd name="connsiteX29" fmla="*/ 147607 w 361670"/>
                <a:gd name="connsiteY29" fmla="*/ 266212 h 361333"/>
                <a:gd name="connsiteX30" fmla="*/ 146330 w 361670"/>
                <a:gd name="connsiteY30" fmla="*/ 264297 h 361333"/>
                <a:gd name="connsiteX31" fmla="*/ 144412 w 361670"/>
                <a:gd name="connsiteY31" fmla="*/ 264297 h 361333"/>
                <a:gd name="connsiteX32" fmla="*/ 120131 w 361670"/>
                <a:gd name="connsiteY32" fmla="*/ 255359 h 361333"/>
                <a:gd name="connsiteX33" fmla="*/ 119492 w 361670"/>
                <a:gd name="connsiteY33" fmla="*/ 254721 h 361333"/>
                <a:gd name="connsiteX34" fmla="*/ 97766 w 361670"/>
                <a:gd name="connsiteY34" fmla="*/ 243868 h 361333"/>
                <a:gd name="connsiteX35" fmla="*/ 94571 w 361670"/>
                <a:gd name="connsiteY35" fmla="*/ 234931 h 361333"/>
                <a:gd name="connsiteX36" fmla="*/ 80513 w 361670"/>
                <a:gd name="connsiteY36" fmla="*/ 224078 h 361333"/>
                <a:gd name="connsiteX37" fmla="*/ 77957 w 361670"/>
                <a:gd name="connsiteY37" fmla="*/ 210671 h 361333"/>
                <a:gd name="connsiteX38" fmla="*/ 81792 w 361670"/>
                <a:gd name="connsiteY38" fmla="*/ 203011 h 361333"/>
                <a:gd name="connsiteX39" fmla="*/ 79874 w 361670"/>
                <a:gd name="connsiteY39" fmla="*/ 200457 h 361333"/>
                <a:gd name="connsiteX40" fmla="*/ 56232 w 361670"/>
                <a:gd name="connsiteY40" fmla="*/ 186412 h 361333"/>
                <a:gd name="connsiteX41" fmla="*/ 52397 w 361670"/>
                <a:gd name="connsiteY41" fmla="*/ 178113 h 361333"/>
                <a:gd name="connsiteX42" fmla="*/ 60704 w 361670"/>
                <a:gd name="connsiteY42" fmla="*/ 174283 h 361333"/>
                <a:gd name="connsiteX43" fmla="*/ 89459 w 361670"/>
                <a:gd name="connsiteY43" fmla="*/ 191519 h 361333"/>
                <a:gd name="connsiteX44" fmla="*/ 92654 w 361670"/>
                <a:gd name="connsiteY44" fmla="*/ 194711 h 361333"/>
                <a:gd name="connsiteX45" fmla="*/ 114380 w 361670"/>
                <a:gd name="connsiteY45" fmla="*/ 180667 h 361333"/>
                <a:gd name="connsiteX46" fmla="*/ 141856 w 361670"/>
                <a:gd name="connsiteY46" fmla="*/ 185135 h 361333"/>
                <a:gd name="connsiteX47" fmla="*/ 143774 w 361670"/>
                <a:gd name="connsiteY47" fmla="*/ 187689 h 361333"/>
                <a:gd name="connsiteX48" fmla="*/ 144412 w 361670"/>
                <a:gd name="connsiteY48" fmla="*/ 187051 h 361333"/>
                <a:gd name="connsiteX49" fmla="*/ 171251 w 361670"/>
                <a:gd name="connsiteY49" fmla="*/ 190243 h 361333"/>
                <a:gd name="connsiteX50" fmla="*/ 173167 w 361670"/>
                <a:gd name="connsiteY50" fmla="*/ 211310 h 361333"/>
                <a:gd name="connsiteX51" fmla="*/ 179557 w 361670"/>
                <a:gd name="connsiteY51" fmla="*/ 216417 h 361333"/>
                <a:gd name="connsiteX52" fmla="*/ 180196 w 361670"/>
                <a:gd name="connsiteY52" fmla="*/ 217055 h 361333"/>
                <a:gd name="connsiteX53" fmla="*/ 183391 w 361670"/>
                <a:gd name="connsiteY53" fmla="*/ 226631 h 361333"/>
                <a:gd name="connsiteX54" fmla="*/ 192337 w 361670"/>
                <a:gd name="connsiteY54" fmla="*/ 233015 h 361333"/>
                <a:gd name="connsiteX55" fmla="*/ 193615 w 361670"/>
                <a:gd name="connsiteY55" fmla="*/ 234292 h 361333"/>
                <a:gd name="connsiteX56" fmla="*/ 196171 w 361670"/>
                <a:gd name="connsiteY56" fmla="*/ 244507 h 361333"/>
                <a:gd name="connsiteX57" fmla="*/ 197449 w 361670"/>
                <a:gd name="connsiteY57" fmla="*/ 245145 h 361333"/>
                <a:gd name="connsiteX58" fmla="*/ 203839 w 361670"/>
                <a:gd name="connsiteY58" fmla="*/ 247699 h 361333"/>
                <a:gd name="connsiteX59" fmla="*/ 209590 w 361670"/>
                <a:gd name="connsiteY59" fmla="*/ 242591 h 361333"/>
                <a:gd name="connsiteX60" fmla="*/ 210229 w 361670"/>
                <a:gd name="connsiteY60" fmla="*/ 241953 h 361333"/>
                <a:gd name="connsiteX61" fmla="*/ 207034 w 361670"/>
                <a:gd name="connsiteY61" fmla="*/ 239399 h 361333"/>
                <a:gd name="connsiteX62" fmla="*/ 194254 w 361670"/>
                <a:gd name="connsiteY62" fmla="*/ 228547 h 361333"/>
                <a:gd name="connsiteX63" fmla="*/ 192976 w 361670"/>
                <a:gd name="connsiteY63" fmla="*/ 219609 h 361333"/>
                <a:gd name="connsiteX64" fmla="*/ 201922 w 361670"/>
                <a:gd name="connsiteY64" fmla="*/ 218332 h 361333"/>
                <a:gd name="connsiteX65" fmla="*/ 215980 w 361670"/>
                <a:gd name="connsiteY65" fmla="*/ 230462 h 361333"/>
                <a:gd name="connsiteX66" fmla="*/ 227482 w 361670"/>
                <a:gd name="connsiteY66" fmla="*/ 240038 h 361333"/>
                <a:gd name="connsiteX67" fmla="*/ 231315 w 361670"/>
                <a:gd name="connsiteY67" fmla="*/ 236846 h 361333"/>
                <a:gd name="connsiteX68" fmla="*/ 234510 w 361670"/>
                <a:gd name="connsiteY68" fmla="*/ 232377 h 361333"/>
                <a:gd name="connsiteX69" fmla="*/ 233233 w 361670"/>
                <a:gd name="connsiteY69" fmla="*/ 231739 h 361333"/>
                <a:gd name="connsiteX70" fmla="*/ 231315 w 361670"/>
                <a:gd name="connsiteY70" fmla="*/ 230462 h 361333"/>
                <a:gd name="connsiteX71" fmla="*/ 224287 w 361670"/>
                <a:gd name="connsiteY71" fmla="*/ 223439 h 361333"/>
                <a:gd name="connsiteX72" fmla="*/ 224287 w 361670"/>
                <a:gd name="connsiteY72" fmla="*/ 223439 h 361333"/>
                <a:gd name="connsiteX73" fmla="*/ 224287 w 361670"/>
                <a:gd name="connsiteY73" fmla="*/ 223439 h 361333"/>
                <a:gd name="connsiteX74" fmla="*/ 222370 w 361670"/>
                <a:gd name="connsiteY74" fmla="*/ 221524 h 361333"/>
                <a:gd name="connsiteX75" fmla="*/ 210229 w 361670"/>
                <a:gd name="connsiteY75" fmla="*/ 210671 h 361333"/>
                <a:gd name="connsiteX76" fmla="*/ 209590 w 361670"/>
                <a:gd name="connsiteY76" fmla="*/ 201734 h 361333"/>
                <a:gd name="connsiteX77" fmla="*/ 218536 w 361670"/>
                <a:gd name="connsiteY77" fmla="*/ 201095 h 361333"/>
                <a:gd name="connsiteX78" fmla="*/ 231315 w 361670"/>
                <a:gd name="connsiteY78" fmla="*/ 213225 h 361333"/>
                <a:gd name="connsiteX79" fmla="*/ 232594 w 361670"/>
                <a:gd name="connsiteY79" fmla="*/ 214502 h 361333"/>
                <a:gd name="connsiteX80" fmla="*/ 242179 w 361670"/>
                <a:gd name="connsiteY80" fmla="*/ 222801 h 361333"/>
                <a:gd name="connsiteX81" fmla="*/ 248569 w 361670"/>
                <a:gd name="connsiteY81" fmla="*/ 227270 h 361333"/>
                <a:gd name="connsiteX82" fmla="*/ 253041 w 361670"/>
                <a:gd name="connsiteY82" fmla="*/ 224078 h 361333"/>
                <a:gd name="connsiteX83" fmla="*/ 256236 w 361670"/>
                <a:gd name="connsiteY83" fmla="*/ 219609 h 361333"/>
                <a:gd name="connsiteX84" fmla="*/ 254320 w 361670"/>
                <a:gd name="connsiteY84" fmla="*/ 215779 h 361333"/>
                <a:gd name="connsiteX85" fmla="*/ 253680 w 361670"/>
                <a:gd name="connsiteY85" fmla="*/ 215140 h 361333"/>
                <a:gd name="connsiteX86" fmla="*/ 243456 w 361670"/>
                <a:gd name="connsiteY86" fmla="*/ 206203 h 361333"/>
                <a:gd name="connsiteX87" fmla="*/ 230038 w 361670"/>
                <a:gd name="connsiteY87" fmla="*/ 194711 h 361333"/>
                <a:gd name="connsiteX88" fmla="*/ 228760 w 361670"/>
                <a:gd name="connsiteY88" fmla="*/ 185774 h 361333"/>
                <a:gd name="connsiteX89" fmla="*/ 237705 w 361670"/>
                <a:gd name="connsiteY89" fmla="*/ 184497 h 361333"/>
                <a:gd name="connsiteX90" fmla="*/ 251764 w 361670"/>
                <a:gd name="connsiteY90" fmla="*/ 196627 h 361333"/>
                <a:gd name="connsiteX91" fmla="*/ 263905 w 361670"/>
                <a:gd name="connsiteY91" fmla="*/ 206841 h 361333"/>
                <a:gd name="connsiteX92" fmla="*/ 267739 w 361670"/>
                <a:gd name="connsiteY92" fmla="*/ 203649 h 361333"/>
                <a:gd name="connsiteX93" fmla="*/ 269016 w 361670"/>
                <a:gd name="connsiteY93" fmla="*/ 203011 h 361333"/>
                <a:gd name="connsiteX94" fmla="*/ 270934 w 361670"/>
                <a:gd name="connsiteY94" fmla="*/ 201095 h 361333"/>
                <a:gd name="connsiteX95" fmla="*/ 269016 w 361670"/>
                <a:gd name="connsiteY95" fmla="*/ 198542 h 361333"/>
                <a:gd name="connsiteX96" fmla="*/ 267100 w 361670"/>
                <a:gd name="connsiteY96" fmla="*/ 196627 h 361333"/>
                <a:gd name="connsiteX97" fmla="*/ 267100 w 361670"/>
                <a:gd name="connsiteY97" fmla="*/ 196627 h 361333"/>
                <a:gd name="connsiteX98" fmla="*/ 267100 w 361670"/>
                <a:gd name="connsiteY98" fmla="*/ 196627 h 361333"/>
                <a:gd name="connsiteX99" fmla="*/ 255597 w 361670"/>
                <a:gd name="connsiteY99" fmla="*/ 182582 h 361333"/>
                <a:gd name="connsiteX100" fmla="*/ 247290 w 361670"/>
                <a:gd name="connsiteY100" fmla="*/ 172368 h 361333"/>
                <a:gd name="connsiteX101" fmla="*/ 235789 w 361670"/>
                <a:gd name="connsiteY101" fmla="*/ 164068 h 361333"/>
                <a:gd name="connsiteX102" fmla="*/ 205117 w 361670"/>
                <a:gd name="connsiteY102" fmla="*/ 151939 h 361333"/>
                <a:gd name="connsiteX103" fmla="*/ 160387 w 361670"/>
                <a:gd name="connsiteY103" fmla="*/ 156408 h 361333"/>
                <a:gd name="connsiteX104" fmla="*/ 134189 w 361670"/>
                <a:gd name="connsiteY104" fmla="*/ 165345 h 361333"/>
                <a:gd name="connsiteX105" fmla="*/ 112463 w 361670"/>
                <a:gd name="connsiteY105" fmla="*/ 153216 h 361333"/>
                <a:gd name="connsiteX106" fmla="*/ 113741 w 361670"/>
                <a:gd name="connsiteY106" fmla="*/ 141086 h 361333"/>
                <a:gd name="connsiteX107" fmla="*/ 120131 w 361670"/>
                <a:gd name="connsiteY107" fmla="*/ 135341 h 361333"/>
                <a:gd name="connsiteX108" fmla="*/ 141217 w 361670"/>
                <a:gd name="connsiteY108" fmla="*/ 116827 h 361333"/>
                <a:gd name="connsiteX109" fmla="*/ 143135 w 361670"/>
                <a:gd name="connsiteY109" fmla="*/ 115550 h 361333"/>
                <a:gd name="connsiteX110" fmla="*/ 155276 w 361670"/>
                <a:gd name="connsiteY110" fmla="*/ 111081 h 361333"/>
                <a:gd name="connsiteX111" fmla="*/ 154636 w 361670"/>
                <a:gd name="connsiteY111" fmla="*/ 111081 h 361333"/>
                <a:gd name="connsiteX112" fmla="*/ 150802 w 361670"/>
                <a:gd name="connsiteY112" fmla="*/ 111081 h 361333"/>
                <a:gd name="connsiteX113" fmla="*/ 119492 w 361670"/>
                <a:gd name="connsiteY113" fmla="*/ 118104 h 361333"/>
                <a:gd name="connsiteX114" fmla="*/ 114380 w 361670"/>
                <a:gd name="connsiteY114" fmla="*/ 118742 h 361333"/>
                <a:gd name="connsiteX115" fmla="*/ 106073 w 361670"/>
                <a:gd name="connsiteY115" fmla="*/ 117465 h 361333"/>
                <a:gd name="connsiteX116" fmla="*/ 87542 w 361670"/>
                <a:gd name="connsiteY116" fmla="*/ 109166 h 361333"/>
                <a:gd name="connsiteX117" fmla="*/ 84347 w 361670"/>
                <a:gd name="connsiteY117" fmla="*/ 100867 h 361333"/>
                <a:gd name="connsiteX118" fmla="*/ 92654 w 361670"/>
                <a:gd name="connsiteY118" fmla="*/ 97675 h 361333"/>
                <a:gd name="connsiteX119" fmla="*/ 110546 w 361670"/>
                <a:gd name="connsiteY119" fmla="*/ 105974 h 361333"/>
                <a:gd name="connsiteX120" fmla="*/ 116297 w 361670"/>
                <a:gd name="connsiteY120" fmla="*/ 105974 h 361333"/>
                <a:gd name="connsiteX121" fmla="*/ 147607 w 361670"/>
                <a:gd name="connsiteY121" fmla="*/ 98952 h 361333"/>
                <a:gd name="connsiteX122" fmla="*/ 156553 w 361670"/>
                <a:gd name="connsiteY122" fmla="*/ 98313 h 361333"/>
                <a:gd name="connsiteX123" fmla="*/ 157831 w 361670"/>
                <a:gd name="connsiteY123" fmla="*/ 98313 h 361333"/>
                <a:gd name="connsiteX124" fmla="*/ 173806 w 361670"/>
                <a:gd name="connsiteY124" fmla="*/ 103421 h 361333"/>
                <a:gd name="connsiteX125" fmla="*/ 174446 w 361670"/>
                <a:gd name="connsiteY125" fmla="*/ 103421 h 361333"/>
                <a:gd name="connsiteX126" fmla="*/ 201922 w 361670"/>
                <a:gd name="connsiteY126" fmla="*/ 101505 h 361333"/>
                <a:gd name="connsiteX127" fmla="*/ 212785 w 361670"/>
                <a:gd name="connsiteY127" fmla="*/ 102144 h 361333"/>
                <a:gd name="connsiteX128" fmla="*/ 250485 w 361670"/>
                <a:gd name="connsiteY128" fmla="*/ 102144 h 361333"/>
                <a:gd name="connsiteX129" fmla="*/ 253041 w 361670"/>
                <a:gd name="connsiteY129" fmla="*/ 101505 h 361333"/>
                <a:gd name="connsiteX130" fmla="*/ 274128 w 361670"/>
                <a:gd name="connsiteY130" fmla="*/ 90653 h 361333"/>
                <a:gd name="connsiteX131" fmla="*/ 283075 w 361670"/>
                <a:gd name="connsiteY131" fmla="*/ 93206 h 361333"/>
                <a:gd name="connsiteX132" fmla="*/ 280518 w 361670"/>
                <a:gd name="connsiteY132" fmla="*/ 102144 h 361333"/>
                <a:gd name="connsiteX133" fmla="*/ 260070 w 361670"/>
                <a:gd name="connsiteY133" fmla="*/ 112997 h 361333"/>
                <a:gd name="connsiteX134" fmla="*/ 251125 w 361670"/>
                <a:gd name="connsiteY134" fmla="*/ 115550 h 361333"/>
                <a:gd name="connsiteX135" fmla="*/ 251125 w 361670"/>
                <a:gd name="connsiteY135" fmla="*/ 115550 h 361333"/>
                <a:gd name="connsiteX136" fmla="*/ 213424 w 361670"/>
                <a:gd name="connsiteY136" fmla="*/ 115550 h 361333"/>
                <a:gd name="connsiteX137" fmla="*/ 201283 w 361670"/>
                <a:gd name="connsiteY137" fmla="*/ 114912 h 361333"/>
                <a:gd name="connsiteX138" fmla="*/ 179557 w 361670"/>
                <a:gd name="connsiteY138" fmla="*/ 115550 h 361333"/>
                <a:gd name="connsiteX139" fmla="*/ 148886 w 361670"/>
                <a:gd name="connsiteY139" fmla="*/ 127041 h 361333"/>
                <a:gd name="connsiteX140" fmla="*/ 125243 w 361670"/>
                <a:gd name="connsiteY140" fmla="*/ 148108 h 361333"/>
                <a:gd name="connsiteX141" fmla="*/ 155276 w 361670"/>
                <a:gd name="connsiteY141" fmla="*/ 144916 h 361333"/>
                <a:gd name="connsiteX142" fmla="*/ 157831 w 361670"/>
                <a:gd name="connsiteY142" fmla="*/ 144278 h 361333"/>
                <a:gd name="connsiteX143" fmla="*/ 205117 w 361670"/>
                <a:gd name="connsiteY143" fmla="*/ 139171 h 361333"/>
                <a:gd name="connsiteX144" fmla="*/ 205117 w 361670"/>
                <a:gd name="connsiteY144" fmla="*/ 139171 h 361333"/>
                <a:gd name="connsiteX145" fmla="*/ 207034 w 361670"/>
                <a:gd name="connsiteY145" fmla="*/ 139171 h 361333"/>
                <a:gd name="connsiteX146" fmla="*/ 207673 w 361670"/>
                <a:gd name="connsiteY146" fmla="*/ 139171 h 361333"/>
                <a:gd name="connsiteX147" fmla="*/ 208312 w 361670"/>
                <a:gd name="connsiteY147" fmla="*/ 139171 h 361333"/>
                <a:gd name="connsiteX148" fmla="*/ 240261 w 361670"/>
                <a:gd name="connsiteY148" fmla="*/ 151939 h 361333"/>
                <a:gd name="connsiteX149" fmla="*/ 240900 w 361670"/>
                <a:gd name="connsiteY149" fmla="*/ 151939 h 361333"/>
                <a:gd name="connsiteX150" fmla="*/ 240900 w 361670"/>
                <a:gd name="connsiteY150" fmla="*/ 151939 h 361333"/>
                <a:gd name="connsiteX151" fmla="*/ 270295 w 361670"/>
                <a:gd name="connsiteY151" fmla="*/ 148747 h 361333"/>
                <a:gd name="connsiteX152" fmla="*/ 279240 w 361670"/>
                <a:gd name="connsiteY152" fmla="*/ 150662 h 361333"/>
                <a:gd name="connsiteX153" fmla="*/ 277323 w 361670"/>
                <a:gd name="connsiteY153" fmla="*/ 159600 h 361333"/>
                <a:gd name="connsiteX154" fmla="*/ 257515 w 361670"/>
                <a:gd name="connsiteY154" fmla="*/ 165984 h 361333"/>
                <a:gd name="connsiteX155" fmla="*/ 264544 w 361670"/>
                <a:gd name="connsiteY155" fmla="*/ 174921 h 361333"/>
                <a:gd name="connsiteX156" fmla="*/ 273490 w 361670"/>
                <a:gd name="connsiteY156" fmla="*/ 185774 h 361333"/>
                <a:gd name="connsiteX157" fmla="*/ 300327 w 361670"/>
                <a:gd name="connsiteY157" fmla="*/ 174921 h 361333"/>
                <a:gd name="connsiteX158" fmla="*/ 308634 w 361670"/>
                <a:gd name="connsiteY158" fmla="*/ 178752 h 361333"/>
                <a:gd name="connsiteX159" fmla="*/ 306078 w 361670"/>
                <a:gd name="connsiteY159" fmla="*/ 185774 h 36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</a:cxnLst>
              <a:rect l="l" t="t" r="r" b="b"/>
              <a:pathLst>
                <a:path w="361670" h="361333">
                  <a:moveTo>
                    <a:pt x="180836" y="0"/>
                  </a:moveTo>
                  <a:cubicBezTo>
                    <a:pt x="80513" y="0"/>
                    <a:pt x="0" y="81077"/>
                    <a:pt x="0" y="180667"/>
                  </a:cubicBezTo>
                  <a:cubicBezTo>
                    <a:pt x="0" y="280257"/>
                    <a:pt x="81152" y="361334"/>
                    <a:pt x="180836" y="361334"/>
                  </a:cubicBezTo>
                  <a:cubicBezTo>
                    <a:pt x="281157" y="361334"/>
                    <a:pt x="361670" y="280257"/>
                    <a:pt x="361670" y="180667"/>
                  </a:cubicBezTo>
                  <a:cubicBezTo>
                    <a:pt x="361670" y="81077"/>
                    <a:pt x="281157" y="0"/>
                    <a:pt x="180836" y="0"/>
                  </a:cubicBezTo>
                  <a:close/>
                  <a:moveTo>
                    <a:pt x="306078" y="185774"/>
                  </a:moveTo>
                  <a:lnTo>
                    <a:pt x="282435" y="195350"/>
                  </a:lnTo>
                  <a:cubicBezTo>
                    <a:pt x="283075" y="197265"/>
                    <a:pt x="283713" y="199180"/>
                    <a:pt x="283713" y="201734"/>
                  </a:cubicBezTo>
                  <a:cubicBezTo>
                    <a:pt x="283075" y="207479"/>
                    <a:pt x="280518" y="210671"/>
                    <a:pt x="277323" y="213225"/>
                  </a:cubicBezTo>
                  <a:lnTo>
                    <a:pt x="276045" y="213863"/>
                  </a:lnTo>
                  <a:cubicBezTo>
                    <a:pt x="273490" y="215779"/>
                    <a:pt x="270934" y="218332"/>
                    <a:pt x="267739" y="218971"/>
                  </a:cubicBezTo>
                  <a:cubicBezTo>
                    <a:pt x="267739" y="219609"/>
                    <a:pt x="267739" y="219609"/>
                    <a:pt x="267739" y="220247"/>
                  </a:cubicBezTo>
                  <a:cubicBezTo>
                    <a:pt x="267100" y="226631"/>
                    <a:pt x="263905" y="230462"/>
                    <a:pt x="260070" y="233654"/>
                  </a:cubicBezTo>
                  <a:cubicBezTo>
                    <a:pt x="256236" y="236846"/>
                    <a:pt x="252403" y="240038"/>
                    <a:pt x="247290" y="240038"/>
                  </a:cubicBezTo>
                  <a:cubicBezTo>
                    <a:pt x="247290" y="240038"/>
                    <a:pt x="246651" y="240038"/>
                    <a:pt x="246651" y="240038"/>
                  </a:cubicBezTo>
                  <a:cubicBezTo>
                    <a:pt x="246013" y="240038"/>
                    <a:pt x="245374" y="240038"/>
                    <a:pt x="244735" y="239399"/>
                  </a:cubicBezTo>
                  <a:cubicBezTo>
                    <a:pt x="243456" y="242591"/>
                    <a:pt x="240900" y="245145"/>
                    <a:pt x="238345" y="247060"/>
                  </a:cubicBezTo>
                  <a:cubicBezTo>
                    <a:pt x="234510" y="250252"/>
                    <a:pt x="230677" y="253444"/>
                    <a:pt x="225565" y="253444"/>
                  </a:cubicBezTo>
                  <a:cubicBezTo>
                    <a:pt x="225565" y="253444"/>
                    <a:pt x="224925" y="253444"/>
                    <a:pt x="224925" y="253444"/>
                  </a:cubicBezTo>
                  <a:cubicBezTo>
                    <a:pt x="223009" y="253444"/>
                    <a:pt x="220453" y="252806"/>
                    <a:pt x="218536" y="250891"/>
                  </a:cubicBezTo>
                  <a:cubicBezTo>
                    <a:pt x="217897" y="251529"/>
                    <a:pt x="217897" y="251529"/>
                    <a:pt x="217258" y="252167"/>
                  </a:cubicBezTo>
                  <a:cubicBezTo>
                    <a:pt x="213424" y="256636"/>
                    <a:pt x="208951" y="261105"/>
                    <a:pt x="201922" y="261105"/>
                  </a:cubicBezTo>
                  <a:cubicBezTo>
                    <a:pt x="201922" y="261105"/>
                    <a:pt x="201283" y="261105"/>
                    <a:pt x="201283" y="261105"/>
                  </a:cubicBezTo>
                  <a:cubicBezTo>
                    <a:pt x="198727" y="261105"/>
                    <a:pt x="191698" y="257913"/>
                    <a:pt x="189142" y="255998"/>
                  </a:cubicBezTo>
                  <a:cubicBezTo>
                    <a:pt x="189142" y="255998"/>
                    <a:pt x="189142" y="255998"/>
                    <a:pt x="189142" y="255998"/>
                  </a:cubicBezTo>
                  <a:cubicBezTo>
                    <a:pt x="188503" y="256636"/>
                    <a:pt x="187864" y="257275"/>
                    <a:pt x="187864" y="257275"/>
                  </a:cubicBezTo>
                  <a:lnTo>
                    <a:pt x="187225" y="257913"/>
                  </a:lnTo>
                  <a:cubicBezTo>
                    <a:pt x="178918" y="266212"/>
                    <a:pt x="171889" y="271958"/>
                    <a:pt x="166138" y="272596"/>
                  </a:cubicBezTo>
                  <a:cubicBezTo>
                    <a:pt x="165500" y="272596"/>
                    <a:pt x="164861" y="272596"/>
                    <a:pt x="164221" y="272596"/>
                  </a:cubicBezTo>
                  <a:cubicBezTo>
                    <a:pt x="157831" y="272596"/>
                    <a:pt x="151441" y="270043"/>
                    <a:pt x="147607" y="266212"/>
                  </a:cubicBezTo>
                  <a:cubicBezTo>
                    <a:pt x="146969" y="265574"/>
                    <a:pt x="146330" y="264935"/>
                    <a:pt x="146330" y="264297"/>
                  </a:cubicBezTo>
                  <a:cubicBezTo>
                    <a:pt x="145691" y="264297"/>
                    <a:pt x="145051" y="264297"/>
                    <a:pt x="144412" y="264297"/>
                  </a:cubicBezTo>
                  <a:cubicBezTo>
                    <a:pt x="136745" y="264297"/>
                    <a:pt x="123965" y="261105"/>
                    <a:pt x="120131" y="255359"/>
                  </a:cubicBezTo>
                  <a:cubicBezTo>
                    <a:pt x="120131" y="255359"/>
                    <a:pt x="120131" y="254721"/>
                    <a:pt x="119492" y="254721"/>
                  </a:cubicBezTo>
                  <a:cubicBezTo>
                    <a:pt x="110546" y="254721"/>
                    <a:pt x="101600" y="249614"/>
                    <a:pt x="97766" y="243868"/>
                  </a:cubicBezTo>
                  <a:cubicBezTo>
                    <a:pt x="95849" y="241315"/>
                    <a:pt x="94571" y="238123"/>
                    <a:pt x="94571" y="234931"/>
                  </a:cubicBezTo>
                  <a:cubicBezTo>
                    <a:pt x="89459" y="233654"/>
                    <a:pt x="84986" y="230462"/>
                    <a:pt x="80513" y="224078"/>
                  </a:cubicBezTo>
                  <a:cubicBezTo>
                    <a:pt x="77957" y="220247"/>
                    <a:pt x="76679" y="215140"/>
                    <a:pt x="77957" y="210671"/>
                  </a:cubicBezTo>
                  <a:cubicBezTo>
                    <a:pt x="78597" y="207479"/>
                    <a:pt x="79874" y="204926"/>
                    <a:pt x="81792" y="203011"/>
                  </a:cubicBezTo>
                  <a:cubicBezTo>
                    <a:pt x="81152" y="202372"/>
                    <a:pt x="80513" y="201734"/>
                    <a:pt x="79874" y="200457"/>
                  </a:cubicBezTo>
                  <a:cubicBezTo>
                    <a:pt x="79874" y="200457"/>
                    <a:pt x="72845" y="193435"/>
                    <a:pt x="56232" y="186412"/>
                  </a:cubicBezTo>
                  <a:cubicBezTo>
                    <a:pt x="53037" y="185135"/>
                    <a:pt x="51119" y="181305"/>
                    <a:pt x="52397" y="178113"/>
                  </a:cubicBezTo>
                  <a:cubicBezTo>
                    <a:pt x="53676" y="174921"/>
                    <a:pt x="57509" y="173006"/>
                    <a:pt x="60704" y="174283"/>
                  </a:cubicBezTo>
                  <a:cubicBezTo>
                    <a:pt x="80513" y="181944"/>
                    <a:pt x="88820" y="190243"/>
                    <a:pt x="89459" y="191519"/>
                  </a:cubicBezTo>
                  <a:cubicBezTo>
                    <a:pt x="90737" y="192796"/>
                    <a:pt x="91376" y="194073"/>
                    <a:pt x="92654" y="194711"/>
                  </a:cubicBezTo>
                  <a:lnTo>
                    <a:pt x="114380" y="180667"/>
                  </a:lnTo>
                  <a:cubicBezTo>
                    <a:pt x="126521" y="173006"/>
                    <a:pt x="136745" y="178752"/>
                    <a:pt x="141856" y="185135"/>
                  </a:cubicBezTo>
                  <a:cubicBezTo>
                    <a:pt x="142496" y="185774"/>
                    <a:pt x="143135" y="187051"/>
                    <a:pt x="143774" y="187689"/>
                  </a:cubicBezTo>
                  <a:lnTo>
                    <a:pt x="144412" y="187051"/>
                  </a:lnTo>
                  <a:cubicBezTo>
                    <a:pt x="153358" y="180667"/>
                    <a:pt x="164221" y="181944"/>
                    <a:pt x="171251" y="190243"/>
                  </a:cubicBezTo>
                  <a:cubicBezTo>
                    <a:pt x="176362" y="196627"/>
                    <a:pt x="177001" y="204287"/>
                    <a:pt x="173167" y="211310"/>
                  </a:cubicBezTo>
                  <a:cubicBezTo>
                    <a:pt x="175723" y="212587"/>
                    <a:pt x="177641" y="214502"/>
                    <a:pt x="179557" y="216417"/>
                  </a:cubicBezTo>
                  <a:cubicBezTo>
                    <a:pt x="179557" y="216417"/>
                    <a:pt x="180196" y="217055"/>
                    <a:pt x="180196" y="217055"/>
                  </a:cubicBezTo>
                  <a:cubicBezTo>
                    <a:pt x="182752" y="220247"/>
                    <a:pt x="183391" y="223439"/>
                    <a:pt x="183391" y="226631"/>
                  </a:cubicBezTo>
                  <a:cubicBezTo>
                    <a:pt x="186586" y="227908"/>
                    <a:pt x="189781" y="229823"/>
                    <a:pt x="192337" y="233015"/>
                  </a:cubicBezTo>
                  <a:cubicBezTo>
                    <a:pt x="192976" y="233654"/>
                    <a:pt x="192976" y="233654"/>
                    <a:pt x="193615" y="234292"/>
                  </a:cubicBezTo>
                  <a:cubicBezTo>
                    <a:pt x="196171" y="238123"/>
                    <a:pt x="196810" y="241315"/>
                    <a:pt x="196171" y="244507"/>
                  </a:cubicBezTo>
                  <a:cubicBezTo>
                    <a:pt x="196810" y="244507"/>
                    <a:pt x="196810" y="245145"/>
                    <a:pt x="197449" y="245145"/>
                  </a:cubicBezTo>
                  <a:cubicBezTo>
                    <a:pt x="198727" y="245783"/>
                    <a:pt x="201922" y="247060"/>
                    <a:pt x="203839" y="247699"/>
                  </a:cubicBezTo>
                  <a:cubicBezTo>
                    <a:pt x="205117" y="247060"/>
                    <a:pt x="207673" y="244507"/>
                    <a:pt x="209590" y="242591"/>
                  </a:cubicBezTo>
                  <a:cubicBezTo>
                    <a:pt x="209590" y="242591"/>
                    <a:pt x="209590" y="242591"/>
                    <a:pt x="210229" y="241953"/>
                  </a:cubicBezTo>
                  <a:cubicBezTo>
                    <a:pt x="209590" y="241315"/>
                    <a:pt x="208312" y="240038"/>
                    <a:pt x="207034" y="239399"/>
                  </a:cubicBezTo>
                  <a:cubicBezTo>
                    <a:pt x="202561" y="235569"/>
                    <a:pt x="198727" y="231739"/>
                    <a:pt x="194254" y="228547"/>
                  </a:cubicBezTo>
                  <a:cubicBezTo>
                    <a:pt x="191698" y="226631"/>
                    <a:pt x="191059" y="222163"/>
                    <a:pt x="192976" y="219609"/>
                  </a:cubicBezTo>
                  <a:cubicBezTo>
                    <a:pt x="194893" y="217055"/>
                    <a:pt x="199366" y="216417"/>
                    <a:pt x="201922" y="218332"/>
                  </a:cubicBezTo>
                  <a:cubicBezTo>
                    <a:pt x="206395" y="222163"/>
                    <a:pt x="211507" y="226631"/>
                    <a:pt x="215980" y="230462"/>
                  </a:cubicBezTo>
                  <a:cubicBezTo>
                    <a:pt x="219814" y="234292"/>
                    <a:pt x="225565" y="239399"/>
                    <a:pt x="227482" y="240038"/>
                  </a:cubicBezTo>
                  <a:cubicBezTo>
                    <a:pt x="227482" y="240038"/>
                    <a:pt x="228120" y="239399"/>
                    <a:pt x="231315" y="236846"/>
                  </a:cubicBezTo>
                  <a:cubicBezTo>
                    <a:pt x="234510" y="234292"/>
                    <a:pt x="234510" y="233654"/>
                    <a:pt x="234510" y="232377"/>
                  </a:cubicBezTo>
                  <a:cubicBezTo>
                    <a:pt x="234510" y="232377"/>
                    <a:pt x="233872" y="231739"/>
                    <a:pt x="233233" y="231739"/>
                  </a:cubicBezTo>
                  <a:cubicBezTo>
                    <a:pt x="232594" y="231100"/>
                    <a:pt x="231955" y="230462"/>
                    <a:pt x="231315" y="230462"/>
                  </a:cubicBezTo>
                  <a:cubicBezTo>
                    <a:pt x="228760" y="228547"/>
                    <a:pt x="226843" y="225993"/>
                    <a:pt x="224287" y="223439"/>
                  </a:cubicBezTo>
                  <a:cubicBezTo>
                    <a:pt x="224287" y="223439"/>
                    <a:pt x="224287" y="223439"/>
                    <a:pt x="224287" y="223439"/>
                  </a:cubicBezTo>
                  <a:cubicBezTo>
                    <a:pt x="224287" y="223439"/>
                    <a:pt x="224287" y="223439"/>
                    <a:pt x="224287" y="223439"/>
                  </a:cubicBezTo>
                  <a:cubicBezTo>
                    <a:pt x="223648" y="222801"/>
                    <a:pt x="223009" y="222163"/>
                    <a:pt x="222370" y="221524"/>
                  </a:cubicBezTo>
                  <a:cubicBezTo>
                    <a:pt x="218536" y="217694"/>
                    <a:pt x="214702" y="213863"/>
                    <a:pt x="210229" y="210671"/>
                  </a:cubicBezTo>
                  <a:cubicBezTo>
                    <a:pt x="207673" y="208118"/>
                    <a:pt x="207034" y="204287"/>
                    <a:pt x="209590" y="201734"/>
                  </a:cubicBezTo>
                  <a:cubicBezTo>
                    <a:pt x="212146" y="199180"/>
                    <a:pt x="215980" y="198542"/>
                    <a:pt x="218536" y="201095"/>
                  </a:cubicBezTo>
                  <a:cubicBezTo>
                    <a:pt x="223009" y="204926"/>
                    <a:pt x="227482" y="208756"/>
                    <a:pt x="231315" y="213225"/>
                  </a:cubicBezTo>
                  <a:cubicBezTo>
                    <a:pt x="231955" y="213863"/>
                    <a:pt x="232594" y="214502"/>
                    <a:pt x="232594" y="214502"/>
                  </a:cubicBezTo>
                  <a:cubicBezTo>
                    <a:pt x="236428" y="217694"/>
                    <a:pt x="239623" y="220247"/>
                    <a:pt x="242179" y="222801"/>
                  </a:cubicBezTo>
                  <a:cubicBezTo>
                    <a:pt x="244735" y="225355"/>
                    <a:pt x="247290" y="227270"/>
                    <a:pt x="248569" y="227270"/>
                  </a:cubicBezTo>
                  <a:cubicBezTo>
                    <a:pt x="248569" y="227270"/>
                    <a:pt x="249846" y="226631"/>
                    <a:pt x="253041" y="224078"/>
                  </a:cubicBezTo>
                  <a:cubicBezTo>
                    <a:pt x="256236" y="221524"/>
                    <a:pt x="256236" y="220886"/>
                    <a:pt x="256236" y="219609"/>
                  </a:cubicBezTo>
                  <a:cubicBezTo>
                    <a:pt x="256236" y="217694"/>
                    <a:pt x="255597" y="217055"/>
                    <a:pt x="254320" y="215779"/>
                  </a:cubicBezTo>
                  <a:cubicBezTo>
                    <a:pt x="254320" y="215779"/>
                    <a:pt x="254320" y="215140"/>
                    <a:pt x="253680" y="215140"/>
                  </a:cubicBezTo>
                  <a:cubicBezTo>
                    <a:pt x="251125" y="213225"/>
                    <a:pt x="247290" y="210033"/>
                    <a:pt x="243456" y="206203"/>
                  </a:cubicBezTo>
                  <a:cubicBezTo>
                    <a:pt x="238984" y="202372"/>
                    <a:pt x="234510" y="197903"/>
                    <a:pt x="230038" y="194711"/>
                  </a:cubicBezTo>
                  <a:cubicBezTo>
                    <a:pt x="227482" y="192796"/>
                    <a:pt x="226843" y="188327"/>
                    <a:pt x="228760" y="185774"/>
                  </a:cubicBezTo>
                  <a:cubicBezTo>
                    <a:pt x="230677" y="183220"/>
                    <a:pt x="235150" y="182582"/>
                    <a:pt x="237705" y="184497"/>
                  </a:cubicBezTo>
                  <a:cubicBezTo>
                    <a:pt x="242179" y="188327"/>
                    <a:pt x="247290" y="192796"/>
                    <a:pt x="251764" y="196627"/>
                  </a:cubicBezTo>
                  <a:cubicBezTo>
                    <a:pt x="255597" y="200457"/>
                    <a:pt x="261349" y="205564"/>
                    <a:pt x="263905" y="206841"/>
                  </a:cubicBezTo>
                  <a:cubicBezTo>
                    <a:pt x="264544" y="206841"/>
                    <a:pt x="265182" y="206203"/>
                    <a:pt x="267739" y="203649"/>
                  </a:cubicBezTo>
                  <a:lnTo>
                    <a:pt x="269016" y="203011"/>
                  </a:lnTo>
                  <a:cubicBezTo>
                    <a:pt x="269655" y="202372"/>
                    <a:pt x="270934" y="201734"/>
                    <a:pt x="270934" y="201095"/>
                  </a:cubicBezTo>
                  <a:cubicBezTo>
                    <a:pt x="270934" y="200457"/>
                    <a:pt x="269655" y="199180"/>
                    <a:pt x="269016" y="198542"/>
                  </a:cubicBezTo>
                  <a:cubicBezTo>
                    <a:pt x="268377" y="197903"/>
                    <a:pt x="267739" y="197265"/>
                    <a:pt x="267100" y="196627"/>
                  </a:cubicBezTo>
                  <a:cubicBezTo>
                    <a:pt x="267100" y="196627"/>
                    <a:pt x="267100" y="196627"/>
                    <a:pt x="267100" y="196627"/>
                  </a:cubicBezTo>
                  <a:cubicBezTo>
                    <a:pt x="267100" y="196627"/>
                    <a:pt x="267100" y="196627"/>
                    <a:pt x="267100" y="196627"/>
                  </a:cubicBezTo>
                  <a:cubicBezTo>
                    <a:pt x="263265" y="191519"/>
                    <a:pt x="258792" y="187051"/>
                    <a:pt x="255597" y="182582"/>
                  </a:cubicBezTo>
                  <a:cubicBezTo>
                    <a:pt x="252403" y="178752"/>
                    <a:pt x="249846" y="175560"/>
                    <a:pt x="247290" y="172368"/>
                  </a:cubicBezTo>
                  <a:cubicBezTo>
                    <a:pt x="244095" y="168537"/>
                    <a:pt x="240261" y="165345"/>
                    <a:pt x="235789" y="164068"/>
                  </a:cubicBezTo>
                  <a:lnTo>
                    <a:pt x="205117" y="151939"/>
                  </a:lnTo>
                  <a:lnTo>
                    <a:pt x="160387" y="156408"/>
                  </a:lnTo>
                  <a:cubicBezTo>
                    <a:pt x="149525" y="162792"/>
                    <a:pt x="141217" y="164707"/>
                    <a:pt x="134189" y="165345"/>
                  </a:cubicBezTo>
                  <a:cubicBezTo>
                    <a:pt x="121409" y="165345"/>
                    <a:pt x="115019" y="157046"/>
                    <a:pt x="112463" y="153216"/>
                  </a:cubicBezTo>
                  <a:cubicBezTo>
                    <a:pt x="109907" y="149385"/>
                    <a:pt x="110546" y="144278"/>
                    <a:pt x="113741" y="141086"/>
                  </a:cubicBezTo>
                  <a:lnTo>
                    <a:pt x="120131" y="135341"/>
                  </a:lnTo>
                  <a:lnTo>
                    <a:pt x="141217" y="116827"/>
                  </a:lnTo>
                  <a:cubicBezTo>
                    <a:pt x="141856" y="116189"/>
                    <a:pt x="142496" y="116189"/>
                    <a:pt x="143135" y="115550"/>
                  </a:cubicBezTo>
                  <a:lnTo>
                    <a:pt x="155276" y="111081"/>
                  </a:lnTo>
                  <a:lnTo>
                    <a:pt x="154636" y="111081"/>
                  </a:lnTo>
                  <a:cubicBezTo>
                    <a:pt x="153358" y="111081"/>
                    <a:pt x="152081" y="111081"/>
                    <a:pt x="150802" y="111081"/>
                  </a:cubicBezTo>
                  <a:lnTo>
                    <a:pt x="119492" y="118104"/>
                  </a:lnTo>
                  <a:cubicBezTo>
                    <a:pt x="117575" y="118742"/>
                    <a:pt x="115658" y="118742"/>
                    <a:pt x="114380" y="118742"/>
                  </a:cubicBezTo>
                  <a:cubicBezTo>
                    <a:pt x="111824" y="118742"/>
                    <a:pt x="108629" y="118104"/>
                    <a:pt x="106073" y="117465"/>
                  </a:cubicBezTo>
                  <a:lnTo>
                    <a:pt x="87542" y="109166"/>
                  </a:lnTo>
                  <a:cubicBezTo>
                    <a:pt x="84347" y="107889"/>
                    <a:pt x="83069" y="104059"/>
                    <a:pt x="84347" y="100867"/>
                  </a:cubicBezTo>
                  <a:cubicBezTo>
                    <a:pt x="85625" y="97675"/>
                    <a:pt x="89459" y="96398"/>
                    <a:pt x="92654" y="97675"/>
                  </a:cubicBezTo>
                  <a:lnTo>
                    <a:pt x="110546" y="105974"/>
                  </a:lnTo>
                  <a:cubicBezTo>
                    <a:pt x="112463" y="106613"/>
                    <a:pt x="114380" y="106613"/>
                    <a:pt x="116297" y="105974"/>
                  </a:cubicBezTo>
                  <a:lnTo>
                    <a:pt x="147607" y="98952"/>
                  </a:lnTo>
                  <a:cubicBezTo>
                    <a:pt x="150802" y="98313"/>
                    <a:pt x="153358" y="98313"/>
                    <a:pt x="156553" y="98313"/>
                  </a:cubicBezTo>
                  <a:cubicBezTo>
                    <a:pt x="157192" y="98313"/>
                    <a:pt x="157192" y="98313"/>
                    <a:pt x="157831" y="98313"/>
                  </a:cubicBezTo>
                  <a:lnTo>
                    <a:pt x="173806" y="103421"/>
                  </a:lnTo>
                  <a:lnTo>
                    <a:pt x="174446" y="103421"/>
                  </a:lnTo>
                  <a:cubicBezTo>
                    <a:pt x="183391" y="100229"/>
                    <a:pt x="192976" y="100867"/>
                    <a:pt x="201922" y="101505"/>
                  </a:cubicBezTo>
                  <a:cubicBezTo>
                    <a:pt x="205756" y="102144"/>
                    <a:pt x="209590" y="102144"/>
                    <a:pt x="212785" y="102144"/>
                  </a:cubicBezTo>
                  <a:lnTo>
                    <a:pt x="250485" y="102144"/>
                  </a:lnTo>
                  <a:cubicBezTo>
                    <a:pt x="251764" y="102144"/>
                    <a:pt x="252403" y="102144"/>
                    <a:pt x="253041" y="101505"/>
                  </a:cubicBezTo>
                  <a:lnTo>
                    <a:pt x="274128" y="90653"/>
                  </a:lnTo>
                  <a:cubicBezTo>
                    <a:pt x="277323" y="88738"/>
                    <a:pt x="281157" y="90014"/>
                    <a:pt x="283075" y="93206"/>
                  </a:cubicBezTo>
                  <a:cubicBezTo>
                    <a:pt x="284991" y="96398"/>
                    <a:pt x="283713" y="100229"/>
                    <a:pt x="280518" y="102144"/>
                  </a:cubicBezTo>
                  <a:lnTo>
                    <a:pt x="260070" y="112997"/>
                  </a:lnTo>
                  <a:cubicBezTo>
                    <a:pt x="257515" y="114273"/>
                    <a:pt x="254320" y="115550"/>
                    <a:pt x="251125" y="115550"/>
                  </a:cubicBezTo>
                  <a:cubicBezTo>
                    <a:pt x="251125" y="115550"/>
                    <a:pt x="251125" y="115550"/>
                    <a:pt x="251125" y="115550"/>
                  </a:cubicBezTo>
                  <a:lnTo>
                    <a:pt x="213424" y="115550"/>
                  </a:lnTo>
                  <a:cubicBezTo>
                    <a:pt x="209590" y="115550"/>
                    <a:pt x="205117" y="114912"/>
                    <a:pt x="201283" y="114912"/>
                  </a:cubicBezTo>
                  <a:cubicBezTo>
                    <a:pt x="193615" y="114273"/>
                    <a:pt x="185947" y="113635"/>
                    <a:pt x="179557" y="115550"/>
                  </a:cubicBezTo>
                  <a:lnTo>
                    <a:pt x="148886" y="127041"/>
                  </a:lnTo>
                  <a:lnTo>
                    <a:pt x="125243" y="148108"/>
                  </a:lnTo>
                  <a:cubicBezTo>
                    <a:pt x="129076" y="152577"/>
                    <a:pt x="136106" y="156408"/>
                    <a:pt x="155276" y="144916"/>
                  </a:cubicBezTo>
                  <a:cubicBezTo>
                    <a:pt x="155915" y="144278"/>
                    <a:pt x="157192" y="144278"/>
                    <a:pt x="157831" y="144278"/>
                  </a:cubicBezTo>
                  <a:lnTo>
                    <a:pt x="205117" y="139171"/>
                  </a:lnTo>
                  <a:cubicBezTo>
                    <a:pt x="205117" y="139171"/>
                    <a:pt x="205117" y="139171"/>
                    <a:pt x="205117" y="139171"/>
                  </a:cubicBezTo>
                  <a:cubicBezTo>
                    <a:pt x="205756" y="139171"/>
                    <a:pt x="206395" y="139171"/>
                    <a:pt x="207034" y="139171"/>
                  </a:cubicBezTo>
                  <a:cubicBezTo>
                    <a:pt x="207034" y="139171"/>
                    <a:pt x="207673" y="139171"/>
                    <a:pt x="207673" y="139171"/>
                  </a:cubicBezTo>
                  <a:cubicBezTo>
                    <a:pt x="207673" y="139171"/>
                    <a:pt x="207673" y="139171"/>
                    <a:pt x="208312" y="139171"/>
                  </a:cubicBezTo>
                  <a:lnTo>
                    <a:pt x="240261" y="151939"/>
                  </a:lnTo>
                  <a:cubicBezTo>
                    <a:pt x="240261" y="151939"/>
                    <a:pt x="240900" y="151939"/>
                    <a:pt x="240900" y="151939"/>
                  </a:cubicBezTo>
                  <a:cubicBezTo>
                    <a:pt x="240900" y="151939"/>
                    <a:pt x="240900" y="151939"/>
                    <a:pt x="240900" y="151939"/>
                  </a:cubicBezTo>
                  <a:cubicBezTo>
                    <a:pt x="244735" y="153854"/>
                    <a:pt x="263905" y="152577"/>
                    <a:pt x="270295" y="148747"/>
                  </a:cubicBezTo>
                  <a:cubicBezTo>
                    <a:pt x="273490" y="146832"/>
                    <a:pt x="277323" y="147470"/>
                    <a:pt x="279240" y="150662"/>
                  </a:cubicBezTo>
                  <a:cubicBezTo>
                    <a:pt x="281157" y="153854"/>
                    <a:pt x="280518" y="157684"/>
                    <a:pt x="277323" y="159600"/>
                  </a:cubicBezTo>
                  <a:cubicBezTo>
                    <a:pt x="272850" y="162792"/>
                    <a:pt x="265182" y="164707"/>
                    <a:pt x="257515" y="165984"/>
                  </a:cubicBezTo>
                  <a:cubicBezTo>
                    <a:pt x="259431" y="168537"/>
                    <a:pt x="261987" y="171729"/>
                    <a:pt x="264544" y="174921"/>
                  </a:cubicBezTo>
                  <a:cubicBezTo>
                    <a:pt x="267100" y="178113"/>
                    <a:pt x="270295" y="181944"/>
                    <a:pt x="273490" y="185774"/>
                  </a:cubicBezTo>
                  <a:lnTo>
                    <a:pt x="300327" y="174921"/>
                  </a:lnTo>
                  <a:cubicBezTo>
                    <a:pt x="303522" y="173644"/>
                    <a:pt x="307356" y="174921"/>
                    <a:pt x="308634" y="178752"/>
                  </a:cubicBezTo>
                  <a:cubicBezTo>
                    <a:pt x="311190" y="180667"/>
                    <a:pt x="309912" y="184497"/>
                    <a:pt x="306078" y="185774"/>
                  </a:cubicBezTo>
                  <a:close/>
                </a:path>
              </a:pathLst>
            </a:custGeom>
            <a:solidFill>
              <a:srgbClr val="0076A8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Graphic 4">
            <a:extLst>
              <a:ext uri="{FF2B5EF4-FFF2-40B4-BE49-F238E27FC236}">
                <a16:creationId xmlns:a16="http://schemas.microsoft.com/office/drawing/2014/main" id="{D06AE011-05F9-DD45-A27D-91B41544109C}"/>
              </a:ext>
            </a:extLst>
          </p:cNvPr>
          <p:cNvGrpSpPr/>
          <p:nvPr/>
        </p:nvGrpSpPr>
        <p:grpSpPr>
          <a:xfrm>
            <a:off x="8201585" y="4180259"/>
            <a:ext cx="687714" cy="689109"/>
            <a:chOff x="6147119" y="2371173"/>
            <a:chExt cx="361670" cy="361333"/>
          </a:xfrm>
          <a:solidFill>
            <a:srgbClr val="00A3E0"/>
          </a:solidFill>
        </p:grpSpPr>
        <p:sp>
          <p:nvSpPr>
            <p:cNvPr id="46" name="Graphic 4">
              <a:extLst>
                <a:ext uri="{FF2B5EF4-FFF2-40B4-BE49-F238E27FC236}">
                  <a16:creationId xmlns:a16="http://schemas.microsoft.com/office/drawing/2014/main" id="{F0E99CB1-CBA9-DC46-AC1C-23B959614A3C}"/>
                </a:ext>
              </a:extLst>
            </p:cNvPr>
            <p:cNvSpPr/>
            <p:nvPr/>
          </p:nvSpPr>
          <p:spPr>
            <a:xfrm>
              <a:off x="6310701" y="2528857"/>
              <a:ext cx="119491" cy="92567"/>
            </a:xfrm>
            <a:custGeom>
              <a:avLst/>
              <a:gdLst>
                <a:gd name="connsiteX0" fmla="*/ 0 w 119491"/>
                <a:gd name="connsiteY0" fmla="*/ 92568 h 92567"/>
                <a:gd name="connsiteX1" fmla="*/ 53676 w 119491"/>
                <a:gd name="connsiteY1" fmla="*/ 92568 h 92567"/>
                <a:gd name="connsiteX2" fmla="*/ 119492 w 119491"/>
                <a:gd name="connsiteY2" fmla="*/ 26174 h 92567"/>
                <a:gd name="connsiteX3" fmla="*/ 93293 w 119491"/>
                <a:gd name="connsiteY3" fmla="*/ 0 h 9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491" h="92567">
                  <a:moveTo>
                    <a:pt x="0" y="92568"/>
                  </a:moveTo>
                  <a:lnTo>
                    <a:pt x="53676" y="92568"/>
                  </a:lnTo>
                  <a:lnTo>
                    <a:pt x="119492" y="26174"/>
                  </a:lnTo>
                  <a:lnTo>
                    <a:pt x="93293" y="0"/>
                  </a:lnTo>
                  <a:close/>
                </a:path>
              </a:pathLst>
            </a:custGeom>
            <a:solidFill>
              <a:srgbClr val="00A3E0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Graphic 4">
              <a:extLst>
                <a:ext uri="{FF2B5EF4-FFF2-40B4-BE49-F238E27FC236}">
                  <a16:creationId xmlns:a16="http://schemas.microsoft.com/office/drawing/2014/main" id="{C59266A3-CDD0-4549-AACD-A74B8B9C9728}"/>
                </a:ext>
              </a:extLst>
            </p:cNvPr>
            <p:cNvSpPr/>
            <p:nvPr/>
          </p:nvSpPr>
          <p:spPr>
            <a:xfrm>
              <a:off x="6278752" y="2449058"/>
              <a:ext cx="72206" cy="45964"/>
            </a:xfrm>
            <a:custGeom>
              <a:avLst/>
              <a:gdLst>
                <a:gd name="connsiteX0" fmla="*/ 0 w 72206"/>
                <a:gd name="connsiteY0" fmla="*/ 45965 h 45964"/>
                <a:gd name="connsiteX1" fmla="*/ 53037 w 72206"/>
                <a:gd name="connsiteY1" fmla="*/ 45965 h 45964"/>
                <a:gd name="connsiteX2" fmla="*/ 72207 w 72206"/>
                <a:gd name="connsiteY2" fmla="*/ 26813 h 45964"/>
                <a:gd name="connsiteX3" fmla="*/ 45369 w 72206"/>
                <a:gd name="connsiteY3" fmla="*/ 0 h 45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206" h="45964">
                  <a:moveTo>
                    <a:pt x="0" y="45965"/>
                  </a:moveTo>
                  <a:lnTo>
                    <a:pt x="53037" y="45965"/>
                  </a:lnTo>
                  <a:lnTo>
                    <a:pt x="72207" y="26813"/>
                  </a:lnTo>
                  <a:lnTo>
                    <a:pt x="45369" y="0"/>
                  </a:lnTo>
                  <a:close/>
                </a:path>
              </a:pathLst>
            </a:custGeom>
            <a:solidFill>
              <a:srgbClr val="00A3E0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Graphic 4">
              <a:extLst>
                <a:ext uri="{FF2B5EF4-FFF2-40B4-BE49-F238E27FC236}">
                  <a16:creationId xmlns:a16="http://schemas.microsoft.com/office/drawing/2014/main" id="{9CA49B25-1074-8441-BB58-12D9AD9442FD}"/>
                </a:ext>
              </a:extLst>
            </p:cNvPr>
            <p:cNvSpPr/>
            <p:nvPr/>
          </p:nvSpPr>
          <p:spPr>
            <a:xfrm>
              <a:off x="6295366" y="2634193"/>
              <a:ext cx="56231" cy="29366"/>
            </a:xfrm>
            <a:custGeom>
              <a:avLst/>
              <a:gdLst>
                <a:gd name="connsiteX0" fmla="*/ 3195 w 56231"/>
                <a:gd name="connsiteY0" fmla="*/ 0 h 29366"/>
                <a:gd name="connsiteX1" fmla="*/ 0 w 56231"/>
                <a:gd name="connsiteY1" fmla="*/ 10214 h 29366"/>
                <a:gd name="connsiteX2" fmla="*/ 5751 w 56231"/>
                <a:gd name="connsiteY2" fmla="*/ 23621 h 29366"/>
                <a:gd name="connsiteX3" fmla="*/ 32589 w 56231"/>
                <a:gd name="connsiteY3" fmla="*/ 23621 h 29366"/>
                <a:gd name="connsiteX4" fmla="*/ 56231 w 56231"/>
                <a:gd name="connsiteY4" fmla="*/ 0 h 29366"/>
                <a:gd name="connsiteX5" fmla="*/ 3195 w 56231"/>
                <a:gd name="connsiteY5" fmla="*/ 0 h 2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231" h="29366">
                  <a:moveTo>
                    <a:pt x="3195" y="0"/>
                  </a:moveTo>
                  <a:cubicBezTo>
                    <a:pt x="1278" y="3192"/>
                    <a:pt x="0" y="6384"/>
                    <a:pt x="0" y="10214"/>
                  </a:cubicBezTo>
                  <a:cubicBezTo>
                    <a:pt x="0" y="15322"/>
                    <a:pt x="1917" y="19790"/>
                    <a:pt x="5751" y="23621"/>
                  </a:cubicBezTo>
                  <a:cubicBezTo>
                    <a:pt x="12780" y="31281"/>
                    <a:pt x="24921" y="31281"/>
                    <a:pt x="32589" y="23621"/>
                  </a:cubicBezTo>
                  <a:lnTo>
                    <a:pt x="56231" y="0"/>
                  </a:lnTo>
                  <a:lnTo>
                    <a:pt x="3195" y="0"/>
                  </a:lnTo>
                  <a:close/>
                </a:path>
              </a:pathLst>
            </a:custGeom>
            <a:solidFill>
              <a:srgbClr val="00A3E0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Graphic 4">
              <a:extLst>
                <a:ext uri="{FF2B5EF4-FFF2-40B4-BE49-F238E27FC236}">
                  <a16:creationId xmlns:a16="http://schemas.microsoft.com/office/drawing/2014/main" id="{C5396B23-1ED4-8B4D-B698-E63755C8B9F5}"/>
                </a:ext>
              </a:extLst>
            </p:cNvPr>
            <p:cNvSpPr/>
            <p:nvPr/>
          </p:nvSpPr>
          <p:spPr>
            <a:xfrm>
              <a:off x="6216130" y="2507790"/>
              <a:ext cx="102878" cy="76128"/>
            </a:xfrm>
            <a:custGeom>
              <a:avLst/>
              <a:gdLst>
                <a:gd name="connsiteX0" fmla="*/ 49841 w 102878"/>
                <a:gd name="connsiteY0" fmla="*/ 0 h 76128"/>
                <a:gd name="connsiteX1" fmla="*/ 5751 w 102878"/>
                <a:gd name="connsiteY1" fmla="*/ 44049 h 76128"/>
                <a:gd name="connsiteX2" fmla="*/ 5751 w 102878"/>
                <a:gd name="connsiteY2" fmla="*/ 70862 h 76128"/>
                <a:gd name="connsiteX3" fmla="*/ 32589 w 102878"/>
                <a:gd name="connsiteY3" fmla="*/ 70862 h 76128"/>
                <a:gd name="connsiteX4" fmla="*/ 102878 w 102878"/>
                <a:gd name="connsiteY4" fmla="*/ 638 h 76128"/>
                <a:gd name="connsiteX5" fmla="*/ 49841 w 102878"/>
                <a:gd name="connsiteY5" fmla="*/ 0 h 76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878" h="76128">
                  <a:moveTo>
                    <a:pt x="49841" y="0"/>
                  </a:moveTo>
                  <a:lnTo>
                    <a:pt x="5751" y="44049"/>
                  </a:lnTo>
                  <a:cubicBezTo>
                    <a:pt x="-1917" y="51710"/>
                    <a:pt x="-1917" y="63201"/>
                    <a:pt x="5751" y="70862"/>
                  </a:cubicBezTo>
                  <a:cubicBezTo>
                    <a:pt x="12780" y="77884"/>
                    <a:pt x="24921" y="77884"/>
                    <a:pt x="32589" y="70862"/>
                  </a:cubicBezTo>
                  <a:lnTo>
                    <a:pt x="102878" y="638"/>
                  </a:lnTo>
                  <a:lnTo>
                    <a:pt x="49841" y="0"/>
                  </a:lnTo>
                  <a:close/>
                </a:path>
              </a:pathLst>
            </a:custGeom>
            <a:solidFill>
              <a:srgbClr val="00A3E0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Graphic 4">
              <a:extLst>
                <a:ext uri="{FF2B5EF4-FFF2-40B4-BE49-F238E27FC236}">
                  <a16:creationId xmlns:a16="http://schemas.microsoft.com/office/drawing/2014/main" id="{27A4276F-78B1-C34C-B7A7-9F17998F8D78}"/>
                </a:ext>
              </a:extLst>
            </p:cNvPr>
            <p:cNvSpPr/>
            <p:nvPr/>
          </p:nvSpPr>
          <p:spPr>
            <a:xfrm>
              <a:off x="6147119" y="2371173"/>
              <a:ext cx="361670" cy="361333"/>
            </a:xfrm>
            <a:custGeom>
              <a:avLst/>
              <a:gdLst>
                <a:gd name="connsiteX0" fmla="*/ 302883 w 361670"/>
                <a:gd name="connsiteY0" fmla="*/ 194711 h 361333"/>
                <a:gd name="connsiteX1" fmla="*/ 298410 w 361670"/>
                <a:gd name="connsiteY1" fmla="*/ 196627 h 361333"/>
                <a:gd name="connsiteX2" fmla="*/ 293937 w 361670"/>
                <a:gd name="connsiteY2" fmla="*/ 194711 h 361333"/>
                <a:gd name="connsiteX3" fmla="*/ 292659 w 361670"/>
                <a:gd name="connsiteY3" fmla="*/ 193435 h 361333"/>
                <a:gd name="connsiteX4" fmla="*/ 189781 w 361670"/>
                <a:gd name="connsiteY4" fmla="*/ 296217 h 361333"/>
                <a:gd name="connsiteX5" fmla="*/ 167416 w 361670"/>
                <a:gd name="connsiteY5" fmla="*/ 305154 h 361333"/>
                <a:gd name="connsiteX6" fmla="*/ 145052 w 361670"/>
                <a:gd name="connsiteY6" fmla="*/ 296217 h 361333"/>
                <a:gd name="connsiteX7" fmla="*/ 135467 w 361670"/>
                <a:gd name="connsiteY7" fmla="*/ 273873 h 361333"/>
                <a:gd name="connsiteX8" fmla="*/ 145052 w 361670"/>
                <a:gd name="connsiteY8" fmla="*/ 251529 h 361333"/>
                <a:gd name="connsiteX9" fmla="*/ 247929 w 361670"/>
                <a:gd name="connsiteY9" fmla="*/ 148747 h 361333"/>
                <a:gd name="connsiteX10" fmla="*/ 246651 w 361670"/>
                <a:gd name="connsiteY10" fmla="*/ 147470 h 361333"/>
                <a:gd name="connsiteX11" fmla="*/ 246651 w 361670"/>
                <a:gd name="connsiteY11" fmla="*/ 138533 h 361333"/>
                <a:gd name="connsiteX12" fmla="*/ 255597 w 361670"/>
                <a:gd name="connsiteY12" fmla="*/ 138533 h 361333"/>
                <a:gd name="connsiteX13" fmla="*/ 303522 w 361670"/>
                <a:gd name="connsiteY13" fmla="*/ 186412 h 361333"/>
                <a:gd name="connsiteX14" fmla="*/ 302883 w 361670"/>
                <a:gd name="connsiteY14" fmla="*/ 194711 h 361333"/>
                <a:gd name="connsiteX15" fmla="*/ 88181 w 361670"/>
                <a:gd name="connsiteY15" fmla="*/ 225355 h 361333"/>
                <a:gd name="connsiteX16" fmla="*/ 65816 w 361670"/>
                <a:gd name="connsiteY16" fmla="*/ 216417 h 361333"/>
                <a:gd name="connsiteX17" fmla="*/ 65816 w 361670"/>
                <a:gd name="connsiteY17" fmla="*/ 171729 h 361333"/>
                <a:gd name="connsiteX18" fmla="*/ 168695 w 361670"/>
                <a:gd name="connsiteY18" fmla="*/ 68947 h 361333"/>
                <a:gd name="connsiteX19" fmla="*/ 167416 w 361670"/>
                <a:gd name="connsiteY19" fmla="*/ 67670 h 361333"/>
                <a:gd name="connsiteX20" fmla="*/ 167416 w 361670"/>
                <a:gd name="connsiteY20" fmla="*/ 58733 h 361333"/>
                <a:gd name="connsiteX21" fmla="*/ 176362 w 361670"/>
                <a:gd name="connsiteY21" fmla="*/ 58733 h 361333"/>
                <a:gd name="connsiteX22" fmla="*/ 224287 w 361670"/>
                <a:gd name="connsiteY22" fmla="*/ 106613 h 361333"/>
                <a:gd name="connsiteX23" fmla="*/ 224287 w 361670"/>
                <a:gd name="connsiteY23" fmla="*/ 115550 h 361333"/>
                <a:gd name="connsiteX24" fmla="*/ 219814 w 361670"/>
                <a:gd name="connsiteY24" fmla="*/ 117465 h 361333"/>
                <a:gd name="connsiteX25" fmla="*/ 215341 w 361670"/>
                <a:gd name="connsiteY25" fmla="*/ 115550 h 361333"/>
                <a:gd name="connsiteX26" fmla="*/ 214063 w 361670"/>
                <a:gd name="connsiteY26" fmla="*/ 114273 h 361333"/>
                <a:gd name="connsiteX27" fmla="*/ 111185 w 361670"/>
                <a:gd name="connsiteY27" fmla="*/ 217055 h 361333"/>
                <a:gd name="connsiteX28" fmla="*/ 88181 w 361670"/>
                <a:gd name="connsiteY28" fmla="*/ 225355 h 361333"/>
                <a:gd name="connsiteX29" fmla="*/ 180835 w 361670"/>
                <a:gd name="connsiteY29" fmla="*/ 0 h 361333"/>
                <a:gd name="connsiteX30" fmla="*/ 0 w 361670"/>
                <a:gd name="connsiteY30" fmla="*/ 180667 h 361333"/>
                <a:gd name="connsiteX31" fmla="*/ 180835 w 361670"/>
                <a:gd name="connsiteY31" fmla="*/ 361333 h 361333"/>
                <a:gd name="connsiteX32" fmla="*/ 361670 w 361670"/>
                <a:gd name="connsiteY32" fmla="*/ 180667 h 361333"/>
                <a:gd name="connsiteX33" fmla="*/ 180835 w 361670"/>
                <a:gd name="connsiteY33" fmla="*/ 0 h 36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61670" h="361333">
                  <a:moveTo>
                    <a:pt x="302883" y="194711"/>
                  </a:moveTo>
                  <a:cubicBezTo>
                    <a:pt x="301605" y="195988"/>
                    <a:pt x="299688" y="196627"/>
                    <a:pt x="298410" y="196627"/>
                  </a:cubicBezTo>
                  <a:cubicBezTo>
                    <a:pt x="297132" y="196627"/>
                    <a:pt x="295215" y="195988"/>
                    <a:pt x="293937" y="194711"/>
                  </a:cubicBezTo>
                  <a:lnTo>
                    <a:pt x="292659" y="193435"/>
                  </a:lnTo>
                  <a:lnTo>
                    <a:pt x="189781" y="296217"/>
                  </a:lnTo>
                  <a:cubicBezTo>
                    <a:pt x="183391" y="302601"/>
                    <a:pt x="175723" y="305154"/>
                    <a:pt x="167416" y="305154"/>
                  </a:cubicBezTo>
                  <a:cubicBezTo>
                    <a:pt x="159110" y="305154"/>
                    <a:pt x="151442" y="301962"/>
                    <a:pt x="145052" y="296217"/>
                  </a:cubicBezTo>
                  <a:cubicBezTo>
                    <a:pt x="139301" y="290471"/>
                    <a:pt x="135467" y="282172"/>
                    <a:pt x="135467" y="273873"/>
                  </a:cubicBezTo>
                  <a:cubicBezTo>
                    <a:pt x="135467" y="265574"/>
                    <a:pt x="138662" y="257275"/>
                    <a:pt x="145052" y="251529"/>
                  </a:cubicBezTo>
                  <a:lnTo>
                    <a:pt x="247929" y="148747"/>
                  </a:lnTo>
                  <a:lnTo>
                    <a:pt x="246651" y="147470"/>
                  </a:lnTo>
                  <a:cubicBezTo>
                    <a:pt x="244096" y="144916"/>
                    <a:pt x="244096" y="141086"/>
                    <a:pt x="246651" y="138533"/>
                  </a:cubicBezTo>
                  <a:cubicBezTo>
                    <a:pt x="249208" y="135979"/>
                    <a:pt x="253041" y="135979"/>
                    <a:pt x="255597" y="138533"/>
                  </a:cubicBezTo>
                  <a:lnTo>
                    <a:pt x="303522" y="186412"/>
                  </a:lnTo>
                  <a:cubicBezTo>
                    <a:pt x="305439" y="188327"/>
                    <a:pt x="305439" y="192158"/>
                    <a:pt x="302883" y="194711"/>
                  </a:cubicBezTo>
                  <a:moveTo>
                    <a:pt x="88181" y="225355"/>
                  </a:moveTo>
                  <a:cubicBezTo>
                    <a:pt x="79874" y="225355"/>
                    <a:pt x="72206" y="222163"/>
                    <a:pt x="65816" y="216417"/>
                  </a:cubicBezTo>
                  <a:cubicBezTo>
                    <a:pt x="53676" y="204287"/>
                    <a:pt x="53676" y="183859"/>
                    <a:pt x="65816" y="171729"/>
                  </a:cubicBezTo>
                  <a:lnTo>
                    <a:pt x="168695" y="68947"/>
                  </a:lnTo>
                  <a:lnTo>
                    <a:pt x="167416" y="67670"/>
                  </a:lnTo>
                  <a:cubicBezTo>
                    <a:pt x="164860" y="65117"/>
                    <a:pt x="164860" y="61286"/>
                    <a:pt x="167416" y="58733"/>
                  </a:cubicBezTo>
                  <a:cubicBezTo>
                    <a:pt x="169972" y="56179"/>
                    <a:pt x="173806" y="56179"/>
                    <a:pt x="176362" y="58733"/>
                  </a:cubicBezTo>
                  <a:lnTo>
                    <a:pt x="224287" y="106613"/>
                  </a:lnTo>
                  <a:cubicBezTo>
                    <a:pt x="226843" y="109166"/>
                    <a:pt x="226843" y="112997"/>
                    <a:pt x="224287" y="115550"/>
                  </a:cubicBezTo>
                  <a:cubicBezTo>
                    <a:pt x="223009" y="116827"/>
                    <a:pt x="221092" y="117465"/>
                    <a:pt x="219814" y="117465"/>
                  </a:cubicBezTo>
                  <a:cubicBezTo>
                    <a:pt x="217897" y="117465"/>
                    <a:pt x="216619" y="116827"/>
                    <a:pt x="215341" y="115550"/>
                  </a:cubicBezTo>
                  <a:lnTo>
                    <a:pt x="214063" y="114273"/>
                  </a:lnTo>
                  <a:lnTo>
                    <a:pt x="111185" y="217055"/>
                  </a:lnTo>
                  <a:cubicBezTo>
                    <a:pt x="104156" y="222163"/>
                    <a:pt x="95849" y="225355"/>
                    <a:pt x="88181" y="225355"/>
                  </a:cubicBezTo>
                  <a:moveTo>
                    <a:pt x="180835" y="0"/>
                  </a:moveTo>
                  <a:cubicBezTo>
                    <a:pt x="80513" y="0"/>
                    <a:pt x="0" y="81077"/>
                    <a:pt x="0" y="180667"/>
                  </a:cubicBezTo>
                  <a:cubicBezTo>
                    <a:pt x="0" y="280895"/>
                    <a:pt x="81152" y="361333"/>
                    <a:pt x="180835" y="361333"/>
                  </a:cubicBezTo>
                  <a:cubicBezTo>
                    <a:pt x="281157" y="361333"/>
                    <a:pt x="361670" y="280257"/>
                    <a:pt x="361670" y="180667"/>
                  </a:cubicBezTo>
                  <a:cubicBezTo>
                    <a:pt x="361670" y="81077"/>
                    <a:pt x="280518" y="0"/>
                    <a:pt x="180835" y="0"/>
                  </a:cubicBezTo>
                </a:path>
              </a:pathLst>
            </a:custGeom>
            <a:solidFill>
              <a:srgbClr val="00A3E0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Graphic 4">
            <a:extLst>
              <a:ext uri="{FF2B5EF4-FFF2-40B4-BE49-F238E27FC236}">
                <a16:creationId xmlns:a16="http://schemas.microsoft.com/office/drawing/2014/main" id="{C2E54336-B2B3-DE44-84BA-0CE108AF0298}"/>
              </a:ext>
            </a:extLst>
          </p:cNvPr>
          <p:cNvSpPr/>
          <p:nvPr/>
        </p:nvSpPr>
        <p:spPr>
          <a:xfrm>
            <a:off x="2168153" y="2262006"/>
            <a:ext cx="694655" cy="640351"/>
          </a:xfrm>
          <a:custGeom>
            <a:avLst/>
            <a:gdLst>
              <a:gd name="connsiteX0" fmla="*/ 180835 w 361670"/>
              <a:gd name="connsiteY0" fmla="*/ 0 h 361333"/>
              <a:gd name="connsiteX1" fmla="*/ 0 w 361670"/>
              <a:gd name="connsiteY1" fmla="*/ 180667 h 361333"/>
              <a:gd name="connsiteX2" fmla="*/ 180835 w 361670"/>
              <a:gd name="connsiteY2" fmla="*/ 361333 h 361333"/>
              <a:gd name="connsiteX3" fmla="*/ 361670 w 361670"/>
              <a:gd name="connsiteY3" fmla="*/ 180667 h 361333"/>
              <a:gd name="connsiteX4" fmla="*/ 180835 w 361670"/>
              <a:gd name="connsiteY4" fmla="*/ 0 h 361333"/>
              <a:gd name="connsiteX5" fmla="*/ 146969 w 361670"/>
              <a:gd name="connsiteY5" fmla="*/ 250252 h 361333"/>
              <a:gd name="connsiteX6" fmla="*/ 124604 w 361670"/>
              <a:gd name="connsiteY6" fmla="*/ 272596 h 361333"/>
              <a:gd name="connsiteX7" fmla="*/ 122687 w 361670"/>
              <a:gd name="connsiteY7" fmla="*/ 273873 h 361333"/>
              <a:gd name="connsiteX8" fmla="*/ 120131 w 361670"/>
              <a:gd name="connsiteY8" fmla="*/ 274511 h 361333"/>
              <a:gd name="connsiteX9" fmla="*/ 117575 w 361670"/>
              <a:gd name="connsiteY9" fmla="*/ 273873 h 361333"/>
              <a:gd name="connsiteX10" fmla="*/ 115658 w 361670"/>
              <a:gd name="connsiteY10" fmla="*/ 272596 h 361333"/>
              <a:gd name="connsiteX11" fmla="*/ 93293 w 361670"/>
              <a:gd name="connsiteY11" fmla="*/ 250252 h 361333"/>
              <a:gd name="connsiteX12" fmla="*/ 93293 w 361670"/>
              <a:gd name="connsiteY12" fmla="*/ 241314 h 361333"/>
              <a:gd name="connsiteX13" fmla="*/ 102239 w 361670"/>
              <a:gd name="connsiteY13" fmla="*/ 241314 h 361333"/>
              <a:gd name="connsiteX14" fmla="*/ 113741 w 361670"/>
              <a:gd name="connsiteY14" fmla="*/ 252806 h 361333"/>
              <a:gd name="connsiteX15" fmla="*/ 113741 w 361670"/>
              <a:gd name="connsiteY15" fmla="*/ 94483 h 361333"/>
              <a:gd name="connsiteX16" fmla="*/ 120131 w 361670"/>
              <a:gd name="connsiteY16" fmla="*/ 88099 h 361333"/>
              <a:gd name="connsiteX17" fmla="*/ 126521 w 361670"/>
              <a:gd name="connsiteY17" fmla="*/ 94483 h 361333"/>
              <a:gd name="connsiteX18" fmla="*/ 126521 w 361670"/>
              <a:gd name="connsiteY18" fmla="*/ 252806 h 361333"/>
              <a:gd name="connsiteX19" fmla="*/ 138022 w 361670"/>
              <a:gd name="connsiteY19" fmla="*/ 241314 h 361333"/>
              <a:gd name="connsiteX20" fmla="*/ 146969 w 361670"/>
              <a:gd name="connsiteY20" fmla="*/ 241314 h 361333"/>
              <a:gd name="connsiteX21" fmla="*/ 146969 w 361670"/>
              <a:gd name="connsiteY21" fmla="*/ 250252 h 361333"/>
              <a:gd name="connsiteX22" fmla="*/ 180835 w 361670"/>
              <a:gd name="connsiteY22" fmla="*/ 274511 h 361333"/>
              <a:gd name="connsiteX23" fmla="*/ 171889 w 361670"/>
              <a:gd name="connsiteY23" fmla="*/ 274511 h 361333"/>
              <a:gd name="connsiteX24" fmla="*/ 165500 w 361670"/>
              <a:gd name="connsiteY24" fmla="*/ 268127 h 361333"/>
              <a:gd name="connsiteX25" fmla="*/ 171889 w 361670"/>
              <a:gd name="connsiteY25" fmla="*/ 261743 h 361333"/>
              <a:gd name="connsiteX26" fmla="*/ 180835 w 361670"/>
              <a:gd name="connsiteY26" fmla="*/ 261743 h 361333"/>
              <a:gd name="connsiteX27" fmla="*/ 187225 w 361670"/>
              <a:gd name="connsiteY27" fmla="*/ 268127 h 361333"/>
              <a:gd name="connsiteX28" fmla="*/ 180835 w 361670"/>
              <a:gd name="connsiteY28" fmla="*/ 274511 h 361333"/>
              <a:gd name="connsiteX29" fmla="*/ 198088 w 361670"/>
              <a:gd name="connsiteY29" fmla="*/ 240038 h 361333"/>
              <a:gd name="connsiteX30" fmla="*/ 171889 w 361670"/>
              <a:gd name="connsiteY30" fmla="*/ 240038 h 361333"/>
              <a:gd name="connsiteX31" fmla="*/ 165500 w 361670"/>
              <a:gd name="connsiteY31" fmla="*/ 233654 h 361333"/>
              <a:gd name="connsiteX32" fmla="*/ 171889 w 361670"/>
              <a:gd name="connsiteY32" fmla="*/ 227270 h 361333"/>
              <a:gd name="connsiteX33" fmla="*/ 198088 w 361670"/>
              <a:gd name="connsiteY33" fmla="*/ 227270 h 361333"/>
              <a:gd name="connsiteX34" fmla="*/ 204478 w 361670"/>
              <a:gd name="connsiteY34" fmla="*/ 233654 h 361333"/>
              <a:gd name="connsiteX35" fmla="*/ 198088 w 361670"/>
              <a:gd name="connsiteY35" fmla="*/ 240038 h 361333"/>
              <a:gd name="connsiteX36" fmla="*/ 215980 w 361670"/>
              <a:gd name="connsiteY36" fmla="*/ 204926 h 361333"/>
              <a:gd name="connsiteX37" fmla="*/ 172528 w 361670"/>
              <a:gd name="connsiteY37" fmla="*/ 204926 h 361333"/>
              <a:gd name="connsiteX38" fmla="*/ 166138 w 361670"/>
              <a:gd name="connsiteY38" fmla="*/ 198542 h 361333"/>
              <a:gd name="connsiteX39" fmla="*/ 172528 w 361670"/>
              <a:gd name="connsiteY39" fmla="*/ 192158 h 361333"/>
              <a:gd name="connsiteX40" fmla="*/ 215980 w 361670"/>
              <a:gd name="connsiteY40" fmla="*/ 192158 h 361333"/>
              <a:gd name="connsiteX41" fmla="*/ 222370 w 361670"/>
              <a:gd name="connsiteY41" fmla="*/ 198542 h 361333"/>
              <a:gd name="connsiteX42" fmla="*/ 215980 w 361670"/>
              <a:gd name="connsiteY42" fmla="*/ 204926 h 361333"/>
              <a:gd name="connsiteX43" fmla="*/ 233233 w 361670"/>
              <a:gd name="connsiteY43" fmla="*/ 170452 h 361333"/>
              <a:gd name="connsiteX44" fmla="*/ 172528 w 361670"/>
              <a:gd name="connsiteY44" fmla="*/ 170452 h 361333"/>
              <a:gd name="connsiteX45" fmla="*/ 166138 w 361670"/>
              <a:gd name="connsiteY45" fmla="*/ 164068 h 361333"/>
              <a:gd name="connsiteX46" fmla="*/ 172528 w 361670"/>
              <a:gd name="connsiteY46" fmla="*/ 157684 h 361333"/>
              <a:gd name="connsiteX47" fmla="*/ 233233 w 361670"/>
              <a:gd name="connsiteY47" fmla="*/ 157684 h 361333"/>
              <a:gd name="connsiteX48" fmla="*/ 239623 w 361670"/>
              <a:gd name="connsiteY48" fmla="*/ 164068 h 361333"/>
              <a:gd name="connsiteX49" fmla="*/ 233233 w 361670"/>
              <a:gd name="connsiteY49" fmla="*/ 170452 h 361333"/>
              <a:gd name="connsiteX50" fmla="*/ 250486 w 361670"/>
              <a:gd name="connsiteY50" fmla="*/ 135340 h 361333"/>
              <a:gd name="connsiteX51" fmla="*/ 171889 w 361670"/>
              <a:gd name="connsiteY51" fmla="*/ 135340 h 361333"/>
              <a:gd name="connsiteX52" fmla="*/ 165500 w 361670"/>
              <a:gd name="connsiteY52" fmla="*/ 128956 h 361333"/>
              <a:gd name="connsiteX53" fmla="*/ 171889 w 361670"/>
              <a:gd name="connsiteY53" fmla="*/ 122572 h 361333"/>
              <a:gd name="connsiteX54" fmla="*/ 250486 w 361670"/>
              <a:gd name="connsiteY54" fmla="*/ 122572 h 361333"/>
              <a:gd name="connsiteX55" fmla="*/ 256876 w 361670"/>
              <a:gd name="connsiteY55" fmla="*/ 128956 h 361333"/>
              <a:gd name="connsiteX56" fmla="*/ 250486 w 361670"/>
              <a:gd name="connsiteY56" fmla="*/ 135340 h 361333"/>
              <a:gd name="connsiteX57" fmla="*/ 263904 w 361670"/>
              <a:gd name="connsiteY57" fmla="*/ 100867 h 361333"/>
              <a:gd name="connsiteX58" fmla="*/ 172528 w 361670"/>
              <a:gd name="connsiteY58" fmla="*/ 100867 h 361333"/>
              <a:gd name="connsiteX59" fmla="*/ 166138 w 361670"/>
              <a:gd name="connsiteY59" fmla="*/ 94483 h 361333"/>
              <a:gd name="connsiteX60" fmla="*/ 172528 w 361670"/>
              <a:gd name="connsiteY60" fmla="*/ 88099 h 361333"/>
              <a:gd name="connsiteX61" fmla="*/ 263904 w 361670"/>
              <a:gd name="connsiteY61" fmla="*/ 88099 h 361333"/>
              <a:gd name="connsiteX62" fmla="*/ 270294 w 361670"/>
              <a:gd name="connsiteY62" fmla="*/ 94483 h 361333"/>
              <a:gd name="connsiteX63" fmla="*/ 263904 w 361670"/>
              <a:gd name="connsiteY63" fmla="*/ 100867 h 361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361670" h="361333">
                <a:moveTo>
                  <a:pt x="180835" y="0"/>
                </a:moveTo>
                <a:cubicBezTo>
                  <a:pt x="80513" y="0"/>
                  <a:pt x="0" y="81077"/>
                  <a:pt x="0" y="180667"/>
                </a:cubicBezTo>
                <a:cubicBezTo>
                  <a:pt x="0" y="280895"/>
                  <a:pt x="81152" y="361333"/>
                  <a:pt x="180835" y="361333"/>
                </a:cubicBezTo>
                <a:cubicBezTo>
                  <a:pt x="280518" y="361333"/>
                  <a:pt x="361670" y="280257"/>
                  <a:pt x="361670" y="180667"/>
                </a:cubicBezTo>
                <a:cubicBezTo>
                  <a:pt x="361670" y="81077"/>
                  <a:pt x="280518" y="0"/>
                  <a:pt x="180835" y="0"/>
                </a:cubicBezTo>
                <a:close/>
                <a:moveTo>
                  <a:pt x="146969" y="250252"/>
                </a:moveTo>
                <a:lnTo>
                  <a:pt x="124604" y="272596"/>
                </a:lnTo>
                <a:cubicBezTo>
                  <a:pt x="123965" y="273234"/>
                  <a:pt x="123326" y="273873"/>
                  <a:pt x="122687" y="273873"/>
                </a:cubicBezTo>
                <a:cubicBezTo>
                  <a:pt x="122048" y="274511"/>
                  <a:pt x="120770" y="274511"/>
                  <a:pt x="120131" y="274511"/>
                </a:cubicBezTo>
                <a:cubicBezTo>
                  <a:pt x="119492" y="274511"/>
                  <a:pt x="118214" y="274511"/>
                  <a:pt x="117575" y="273873"/>
                </a:cubicBezTo>
                <a:cubicBezTo>
                  <a:pt x="116936" y="273234"/>
                  <a:pt x="116297" y="273234"/>
                  <a:pt x="115658" y="272596"/>
                </a:cubicBezTo>
                <a:lnTo>
                  <a:pt x="93293" y="250252"/>
                </a:lnTo>
                <a:cubicBezTo>
                  <a:pt x="90737" y="247698"/>
                  <a:pt x="90737" y="243868"/>
                  <a:pt x="93293" y="241314"/>
                </a:cubicBezTo>
                <a:cubicBezTo>
                  <a:pt x="95849" y="238761"/>
                  <a:pt x="99683" y="238761"/>
                  <a:pt x="102239" y="241314"/>
                </a:cubicBezTo>
                <a:lnTo>
                  <a:pt x="113741" y="252806"/>
                </a:lnTo>
                <a:lnTo>
                  <a:pt x="113741" y="94483"/>
                </a:lnTo>
                <a:cubicBezTo>
                  <a:pt x="113741" y="90653"/>
                  <a:pt x="116297" y="88099"/>
                  <a:pt x="120131" y="88099"/>
                </a:cubicBezTo>
                <a:cubicBezTo>
                  <a:pt x="123965" y="88099"/>
                  <a:pt x="126521" y="90653"/>
                  <a:pt x="126521" y="94483"/>
                </a:cubicBezTo>
                <a:lnTo>
                  <a:pt x="126521" y="252806"/>
                </a:lnTo>
                <a:lnTo>
                  <a:pt x="138022" y="241314"/>
                </a:lnTo>
                <a:cubicBezTo>
                  <a:pt x="140579" y="238761"/>
                  <a:pt x="144412" y="238761"/>
                  <a:pt x="146969" y="241314"/>
                </a:cubicBezTo>
                <a:cubicBezTo>
                  <a:pt x="149525" y="243868"/>
                  <a:pt x="149525" y="247698"/>
                  <a:pt x="146969" y="250252"/>
                </a:cubicBezTo>
                <a:close/>
                <a:moveTo>
                  <a:pt x="180835" y="274511"/>
                </a:moveTo>
                <a:lnTo>
                  <a:pt x="171889" y="274511"/>
                </a:lnTo>
                <a:cubicBezTo>
                  <a:pt x="168055" y="274511"/>
                  <a:pt x="165500" y="271958"/>
                  <a:pt x="165500" y="268127"/>
                </a:cubicBezTo>
                <a:cubicBezTo>
                  <a:pt x="165500" y="264297"/>
                  <a:pt x="168055" y="261743"/>
                  <a:pt x="171889" y="261743"/>
                </a:cubicBezTo>
                <a:lnTo>
                  <a:pt x="180835" y="261743"/>
                </a:lnTo>
                <a:cubicBezTo>
                  <a:pt x="184669" y="261743"/>
                  <a:pt x="187225" y="264297"/>
                  <a:pt x="187225" y="268127"/>
                </a:cubicBezTo>
                <a:cubicBezTo>
                  <a:pt x="187225" y="271958"/>
                  <a:pt x="184669" y="274511"/>
                  <a:pt x="180835" y="274511"/>
                </a:cubicBezTo>
                <a:close/>
                <a:moveTo>
                  <a:pt x="198088" y="240038"/>
                </a:moveTo>
                <a:lnTo>
                  <a:pt x="171889" y="240038"/>
                </a:lnTo>
                <a:cubicBezTo>
                  <a:pt x="168055" y="240038"/>
                  <a:pt x="165500" y="237484"/>
                  <a:pt x="165500" y="233654"/>
                </a:cubicBezTo>
                <a:cubicBezTo>
                  <a:pt x="165500" y="229823"/>
                  <a:pt x="168055" y="227270"/>
                  <a:pt x="171889" y="227270"/>
                </a:cubicBezTo>
                <a:lnTo>
                  <a:pt x="198088" y="227270"/>
                </a:lnTo>
                <a:cubicBezTo>
                  <a:pt x="201922" y="227270"/>
                  <a:pt x="204478" y="229823"/>
                  <a:pt x="204478" y="233654"/>
                </a:cubicBezTo>
                <a:cubicBezTo>
                  <a:pt x="204478" y="236846"/>
                  <a:pt x="201922" y="240038"/>
                  <a:pt x="198088" y="240038"/>
                </a:cubicBezTo>
                <a:close/>
                <a:moveTo>
                  <a:pt x="215980" y="204926"/>
                </a:moveTo>
                <a:lnTo>
                  <a:pt x="172528" y="204926"/>
                </a:lnTo>
                <a:cubicBezTo>
                  <a:pt x="168695" y="204926"/>
                  <a:pt x="166138" y="202372"/>
                  <a:pt x="166138" y="198542"/>
                </a:cubicBezTo>
                <a:cubicBezTo>
                  <a:pt x="166138" y="194711"/>
                  <a:pt x="168695" y="192158"/>
                  <a:pt x="172528" y="192158"/>
                </a:cubicBezTo>
                <a:lnTo>
                  <a:pt x="215980" y="192158"/>
                </a:lnTo>
                <a:cubicBezTo>
                  <a:pt x="219814" y="192158"/>
                  <a:pt x="222370" y="194711"/>
                  <a:pt x="222370" y="198542"/>
                </a:cubicBezTo>
                <a:cubicBezTo>
                  <a:pt x="222370" y="202372"/>
                  <a:pt x="219175" y="204926"/>
                  <a:pt x="215980" y="204926"/>
                </a:cubicBezTo>
                <a:close/>
                <a:moveTo>
                  <a:pt x="233233" y="170452"/>
                </a:moveTo>
                <a:lnTo>
                  <a:pt x="172528" y="170452"/>
                </a:lnTo>
                <a:cubicBezTo>
                  <a:pt x="168695" y="170452"/>
                  <a:pt x="166138" y="167899"/>
                  <a:pt x="166138" y="164068"/>
                </a:cubicBezTo>
                <a:cubicBezTo>
                  <a:pt x="166138" y="160238"/>
                  <a:pt x="168695" y="157684"/>
                  <a:pt x="172528" y="157684"/>
                </a:cubicBezTo>
                <a:lnTo>
                  <a:pt x="233233" y="157684"/>
                </a:lnTo>
                <a:cubicBezTo>
                  <a:pt x="237067" y="157684"/>
                  <a:pt x="239623" y="160238"/>
                  <a:pt x="239623" y="164068"/>
                </a:cubicBezTo>
                <a:cubicBezTo>
                  <a:pt x="239623" y="167899"/>
                  <a:pt x="236428" y="170452"/>
                  <a:pt x="233233" y="170452"/>
                </a:cubicBezTo>
                <a:close/>
                <a:moveTo>
                  <a:pt x="250486" y="135340"/>
                </a:moveTo>
                <a:lnTo>
                  <a:pt x="171889" y="135340"/>
                </a:lnTo>
                <a:cubicBezTo>
                  <a:pt x="168055" y="135340"/>
                  <a:pt x="165500" y="132787"/>
                  <a:pt x="165500" y="128956"/>
                </a:cubicBezTo>
                <a:cubicBezTo>
                  <a:pt x="165500" y="125126"/>
                  <a:pt x="168055" y="122572"/>
                  <a:pt x="171889" y="122572"/>
                </a:cubicBezTo>
                <a:lnTo>
                  <a:pt x="250486" y="122572"/>
                </a:lnTo>
                <a:cubicBezTo>
                  <a:pt x="254319" y="122572"/>
                  <a:pt x="256876" y="125126"/>
                  <a:pt x="256876" y="128956"/>
                </a:cubicBezTo>
                <a:cubicBezTo>
                  <a:pt x="256876" y="132787"/>
                  <a:pt x="254319" y="135340"/>
                  <a:pt x="250486" y="135340"/>
                </a:cubicBezTo>
                <a:close/>
                <a:moveTo>
                  <a:pt x="263904" y="100867"/>
                </a:moveTo>
                <a:lnTo>
                  <a:pt x="172528" y="100867"/>
                </a:lnTo>
                <a:cubicBezTo>
                  <a:pt x="168695" y="100867"/>
                  <a:pt x="166138" y="98313"/>
                  <a:pt x="166138" y="94483"/>
                </a:cubicBezTo>
                <a:cubicBezTo>
                  <a:pt x="166138" y="90653"/>
                  <a:pt x="168695" y="88099"/>
                  <a:pt x="172528" y="88099"/>
                </a:cubicBezTo>
                <a:lnTo>
                  <a:pt x="263904" y="88099"/>
                </a:lnTo>
                <a:cubicBezTo>
                  <a:pt x="267739" y="88099"/>
                  <a:pt x="270294" y="90653"/>
                  <a:pt x="270294" y="94483"/>
                </a:cubicBezTo>
                <a:cubicBezTo>
                  <a:pt x="270294" y="98313"/>
                  <a:pt x="267099" y="100867"/>
                  <a:pt x="263904" y="100867"/>
                </a:cubicBezTo>
                <a:close/>
              </a:path>
            </a:pathLst>
          </a:custGeom>
          <a:solidFill>
            <a:srgbClr val="00ABAB"/>
          </a:solidFill>
          <a:ln w="639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3" name="Rectangle 52"/>
          <p:cNvSpPr/>
          <p:nvPr/>
        </p:nvSpPr>
        <p:spPr>
          <a:xfrm>
            <a:off x="7600673" y="6033052"/>
            <a:ext cx="2398092" cy="741230"/>
          </a:xfrm>
          <a:prstGeom prst="rect">
            <a:avLst/>
          </a:prstGeom>
          <a:noFill/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01159507"/>
              </p:ext>
            </p:extLst>
          </p:nvPr>
        </p:nvGraphicFramePr>
        <p:xfrm>
          <a:off x="7623685" y="6156641"/>
          <a:ext cx="914400" cy="806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" name="Worksheet" showAsIcon="1" r:id="rId4" imgW="914400" imgH="806400" progId="Excel.Sheet.12">
                  <p:embed/>
                </p:oleObj>
              </mc:Choice>
              <mc:Fallback>
                <p:oleObj name="Worksheet" showAsIcon="1" r:id="rId4" imgW="914400" imgH="8064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623685" y="6156641"/>
                        <a:ext cx="914400" cy="8064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48970522"/>
              </p:ext>
            </p:extLst>
          </p:nvPr>
        </p:nvGraphicFramePr>
        <p:xfrm>
          <a:off x="8481008" y="6160539"/>
          <a:ext cx="914400" cy="806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4" name="Worksheet" showAsIcon="1" r:id="rId6" imgW="914400" imgH="806400" progId="Excel.Sheet.12">
                  <p:embed/>
                </p:oleObj>
              </mc:Choice>
              <mc:Fallback>
                <p:oleObj name="Worksheet" showAsIcon="1" r:id="rId6" imgW="914400" imgH="8064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8481008" y="6160539"/>
                        <a:ext cx="914400" cy="8064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79482671"/>
              </p:ext>
            </p:extLst>
          </p:nvPr>
        </p:nvGraphicFramePr>
        <p:xfrm>
          <a:off x="9239887" y="6095337"/>
          <a:ext cx="914400" cy="806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5" name="Worksheet" showAsIcon="1" r:id="rId8" imgW="914400" imgH="806400" progId="Excel.Sheet.12">
                  <p:embed/>
                </p:oleObj>
              </mc:Choice>
              <mc:Fallback>
                <p:oleObj name="Worksheet" showAsIcon="1" r:id="rId8" imgW="914400" imgH="8064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9239887" y="6095337"/>
                        <a:ext cx="914400" cy="8064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78565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Content Placeholder 2"/>
          <p:cNvSpPr>
            <a:spLocks noGrp="1"/>
          </p:cNvSpPr>
          <p:nvPr>
            <p:ph sz="quarter" idx="10"/>
          </p:nvPr>
        </p:nvSpPr>
        <p:spPr>
          <a:xfrm>
            <a:off x="469900" y="1115315"/>
            <a:ext cx="9397113" cy="929709"/>
          </a:xfrm>
        </p:spPr>
        <p:txBody>
          <a:bodyPr/>
          <a:lstStyle/>
          <a:p>
            <a:pPr algn="just"/>
            <a:r>
              <a:rPr lang="es-VE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 ultima fase correspondiente a la implementación del </a:t>
            </a:r>
            <a:r>
              <a:rPr lang="es-VE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utsourcing</a:t>
            </a:r>
            <a:r>
              <a:rPr lang="es-V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contable con SAP Business </a:t>
            </a:r>
            <a:r>
              <a:rPr lang="es-VE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e, es la </a:t>
            </a:r>
            <a:r>
              <a:rPr lang="es-VE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epación</a:t>
            </a:r>
            <a:r>
              <a:rPr lang="es-VE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final. Esta fase contempla los entregables de los saldos iniciales (Balance General, Cuentas por Cobras y Cuentas por Pagar) así como la entrega de manuales personalizados de todos los procesos</a:t>
            </a:r>
            <a:endParaRPr lang="es-VE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VE" dirty="0" smtClean="0"/>
              <a:t>Implementación SAP Business </a:t>
            </a:r>
            <a:r>
              <a:rPr lang="es-VE" dirty="0" err="1" smtClean="0"/>
              <a:t>One</a:t>
            </a:r>
            <a:endParaRPr lang="es-VE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VE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eparación Final</a:t>
            </a:r>
            <a:endParaRPr lang="es-VE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6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67316" y="2070050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foque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etodológic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78388" y="2422880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eparación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icial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67315" y="3063181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alización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67315" y="3414412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eparación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Final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67315" y="2752510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usiness Blueprin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4" name="Group 23"/>
          <p:cNvGrpSpPr/>
          <p:nvPr/>
        </p:nvGrpSpPr>
        <p:grpSpPr>
          <a:xfrm>
            <a:off x="1765112" y="2443797"/>
            <a:ext cx="6463092" cy="3181719"/>
            <a:chOff x="2651763" y="1855961"/>
            <a:chExt cx="7216519" cy="3567014"/>
          </a:xfrm>
        </p:grpSpPr>
        <p:sp>
          <p:nvSpPr>
            <p:cNvPr id="25" name="Oval 155"/>
            <p:cNvSpPr/>
            <p:nvPr/>
          </p:nvSpPr>
          <p:spPr>
            <a:xfrm rot="2700000">
              <a:off x="5629978" y="1834069"/>
              <a:ext cx="1224136" cy="2290176"/>
            </a:xfrm>
            <a:custGeom>
              <a:avLst/>
              <a:gdLst/>
              <a:ahLst/>
              <a:cxnLst/>
              <a:rect l="l" t="t" r="r" b="b"/>
              <a:pathLst>
                <a:path w="1224136" h="2290176">
                  <a:moveTo>
                    <a:pt x="459315" y="63272"/>
                  </a:moveTo>
                  <a:cubicBezTo>
                    <a:pt x="498408" y="24179"/>
                    <a:pt x="552413" y="0"/>
                    <a:pt x="612067" y="0"/>
                  </a:cubicBezTo>
                  <a:cubicBezTo>
                    <a:pt x="731374" y="0"/>
                    <a:pt x="828091" y="96717"/>
                    <a:pt x="828091" y="216024"/>
                  </a:cubicBezTo>
                  <a:cubicBezTo>
                    <a:pt x="828091" y="299408"/>
                    <a:pt x="780848" y="371757"/>
                    <a:pt x="711216" y="406896"/>
                  </a:cubicBezTo>
                  <a:cubicBezTo>
                    <a:pt x="691916" y="450663"/>
                    <a:pt x="710516" y="496019"/>
                    <a:pt x="737802" y="533019"/>
                  </a:cubicBezTo>
                  <a:lnTo>
                    <a:pt x="1224136" y="533019"/>
                  </a:lnTo>
                  <a:lnTo>
                    <a:pt x="1224136" y="1019520"/>
                  </a:lnTo>
                  <a:cubicBezTo>
                    <a:pt x="1187224" y="1046736"/>
                    <a:pt x="1141992" y="1065189"/>
                    <a:pt x="1098339" y="1045939"/>
                  </a:cubicBezTo>
                  <a:cubicBezTo>
                    <a:pt x="1063200" y="976307"/>
                    <a:pt x="990851" y="929064"/>
                    <a:pt x="907467" y="929064"/>
                  </a:cubicBezTo>
                  <a:cubicBezTo>
                    <a:pt x="788160" y="929064"/>
                    <a:pt x="691443" y="1025781"/>
                    <a:pt x="691443" y="1145088"/>
                  </a:cubicBezTo>
                  <a:cubicBezTo>
                    <a:pt x="691443" y="1204742"/>
                    <a:pt x="715622" y="1258747"/>
                    <a:pt x="754715" y="1297840"/>
                  </a:cubicBezTo>
                  <a:cubicBezTo>
                    <a:pt x="793807" y="1336933"/>
                    <a:pt x="847813" y="1361112"/>
                    <a:pt x="907467" y="1361112"/>
                  </a:cubicBezTo>
                  <a:cubicBezTo>
                    <a:pt x="988927" y="1361112"/>
                    <a:pt x="1059856" y="1316024"/>
                    <a:pt x="1095778" y="1248955"/>
                  </a:cubicBezTo>
                  <a:cubicBezTo>
                    <a:pt x="1141514" y="1226580"/>
                    <a:pt x="1182162" y="1242465"/>
                    <a:pt x="1224136" y="1270694"/>
                  </a:cubicBezTo>
                  <a:lnTo>
                    <a:pt x="1224136" y="1757155"/>
                  </a:lnTo>
                  <a:lnTo>
                    <a:pt x="737829" y="1757155"/>
                  </a:lnTo>
                  <a:cubicBezTo>
                    <a:pt x="709519" y="1799263"/>
                    <a:pt x="693505" y="1839996"/>
                    <a:pt x="715934" y="1885841"/>
                  </a:cubicBezTo>
                  <a:cubicBezTo>
                    <a:pt x="783003" y="1921763"/>
                    <a:pt x="828091" y="1992692"/>
                    <a:pt x="828091" y="2074152"/>
                  </a:cubicBezTo>
                  <a:cubicBezTo>
                    <a:pt x="828091" y="2133806"/>
                    <a:pt x="803912" y="2187812"/>
                    <a:pt x="764819" y="2226904"/>
                  </a:cubicBezTo>
                  <a:cubicBezTo>
                    <a:pt x="725726" y="2265997"/>
                    <a:pt x="671721" y="2290176"/>
                    <a:pt x="612067" y="2290176"/>
                  </a:cubicBezTo>
                  <a:cubicBezTo>
                    <a:pt x="492760" y="2290176"/>
                    <a:pt x="396043" y="2193459"/>
                    <a:pt x="396043" y="2074152"/>
                  </a:cubicBezTo>
                  <a:cubicBezTo>
                    <a:pt x="396043" y="1990768"/>
                    <a:pt x="443286" y="1918419"/>
                    <a:pt x="512918" y="1883280"/>
                  </a:cubicBezTo>
                  <a:cubicBezTo>
                    <a:pt x="532218" y="1839512"/>
                    <a:pt x="513617" y="1794156"/>
                    <a:pt x="486331" y="1757155"/>
                  </a:cubicBezTo>
                  <a:lnTo>
                    <a:pt x="0" y="1757155"/>
                  </a:lnTo>
                  <a:lnTo>
                    <a:pt x="0" y="1267857"/>
                  </a:lnTo>
                  <a:cubicBezTo>
                    <a:pt x="35436" y="1241878"/>
                    <a:pt x="78596" y="1225841"/>
                    <a:pt x="120314" y="1244237"/>
                  </a:cubicBezTo>
                  <a:cubicBezTo>
                    <a:pt x="155453" y="1313869"/>
                    <a:pt x="227802" y="1361112"/>
                    <a:pt x="311186" y="1361112"/>
                  </a:cubicBezTo>
                  <a:cubicBezTo>
                    <a:pt x="430493" y="1361112"/>
                    <a:pt x="527210" y="1264395"/>
                    <a:pt x="527210" y="1145088"/>
                  </a:cubicBezTo>
                  <a:cubicBezTo>
                    <a:pt x="527210" y="1085434"/>
                    <a:pt x="503031" y="1031429"/>
                    <a:pt x="463938" y="992336"/>
                  </a:cubicBezTo>
                  <a:cubicBezTo>
                    <a:pt x="424846" y="953243"/>
                    <a:pt x="370840" y="929064"/>
                    <a:pt x="311186" y="929064"/>
                  </a:cubicBezTo>
                  <a:cubicBezTo>
                    <a:pt x="229726" y="929064"/>
                    <a:pt x="158797" y="974152"/>
                    <a:pt x="122875" y="1041221"/>
                  </a:cubicBezTo>
                  <a:cubicBezTo>
                    <a:pt x="78969" y="1062702"/>
                    <a:pt x="39751" y="1048921"/>
                    <a:pt x="0" y="1022105"/>
                  </a:cubicBezTo>
                  <a:lnTo>
                    <a:pt x="0" y="533019"/>
                  </a:lnTo>
                  <a:lnTo>
                    <a:pt x="486305" y="533019"/>
                  </a:lnTo>
                  <a:cubicBezTo>
                    <a:pt x="514616" y="490912"/>
                    <a:pt x="530628" y="450179"/>
                    <a:pt x="508200" y="404335"/>
                  </a:cubicBezTo>
                  <a:cubicBezTo>
                    <a:pt x="441131" y="368413"/>
                    <a:pt x="396043" y="297484"/>
                    <a:pt x="396043" y="216024"/>
                  </a:cubicBezTo>
                  <a:cubicBezTo>
                    <a:pt x="396043" y="156370"/>
                    <a:pt x="420222" y="102364"/>
                    <a:pt x="459315" y="63272"/>
                  </a:cubicBezTo>
                  <a:close/>
                </a:path>
              </a:pathLst>
            </a:custGeom>
            <a:solidFill>
              <a:schemeClr val="accent3"/>
            </a:solidFill>
            <a:ln w="12700" cap="flat" cmpd="sng" algn="ctr">
              <a:noFill/>
              <a:prstDash val="solid"/>
            </a:ln>
            <a:effectLst/>
          </p:spPr>
          <p:txBody>
            <a:bodyPr lIns="91440" tIns="91440" rIns="91440" bIns="9144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Oval 155"/>
            <p:cNvSpPr/>
            <p:nvPr/>
          </p:nvSpPr>
          <p:spPr>
            <a:xfrm rot="18900000">
              <a:off x="6495804" y="2699894"/>
              <a:ext cx="1224136" cy="2290176"/>
            </a:xfrm>
            <a:custGeom>
              <a:avLst/>
              <a:gdLst/>
              <a:ahLst/>
              <a:cxnLst/>
              <a:rect l="l" t="t" r="r" b="b"/>
              <a:pathLst>
                <a:path w="1224136" h="2290176">
                  <a:moveTo>
                    <a:pt x="764820" y="63272"/>
                  </a:moveTo>
                  <a:cubicBezTo>
                    <a:pt x="803913" y="102365"/>
                    <a:pt x="828092" y="156370"/>
                    <a:pt x="828092" y="216024"/>
                  </a:cubicBezTo>
                  <a:cubicBezTo>
                    <a:pt x="828092" y="299408"/>
                    <a:pt x="780849" y="371757"/>
                    <a:pt x="711217" y="406896"/>
                  </a:cubicBezTo>
                  <a:cubicBezTo>
                    <a:pt x="691917" y="450664"/>
                    <a:pt x="710518" y="496020"/>
                    <a:pt x="737803" y="533020"/>
                  </a:cubicBezTo>
                  <a:lnTo>
                    <a:pt x="1224136" y="533020"/>
                  </a:lnTo>
                  <a:lnTo>
                    <a:pt x="1224136" y="1022318"/>
                  </a:lnTo>
                  <a:cubicBezTo>
                    <a:pt x="1188700" y="1048297"/>
                    <a:pt x="1145539" y="1064335"/>
                    <a:pt x="1103821" y="1045938"/>
                  </a:cubicBezTo>
                  <a:cubicBezTo>
                    <a:pt x="1068682" y="976306"/>
                    <a:pt x="996333" y="929063"/>
                    <a:pt x="912949" y="929063"/>
                  </a:cubicBezTo>
                  <a:cubicBezTo>
                    <a:pt x="793642" y="929063"/>
                    <a:pt x="696925" y="1025780"/>
                    <a:pt x="696925" y="1145087"/>
                  </a:cubicBezTo>
                  <a:cubicBezTo>
                    <a:pt x="696925" y="1204741"/>
                    <a:pt x="721104" y="1258746"/>
                    <a:pt x="760197" y="1297839"/>
                  </a:cubicBezTo>
                  <a:cubicBezTo>
                    <a:pt x="799289" y="1336932"/>
                    <a:pt x="853295" y="1361111"/>
                    <a:pt x="912949" y="1361111"/>
                  </a:cubicBezTo>
                  <a:cubicBezTo>
                    <a:pt x="994409" y="1361111"/>
                    <a:pt x="1065338" y="1316024"/>
                    <a:pt x="1101260" y="1248954"/>
                  </a:cubicBezTo>
                  <a:cubicBezTo>
                    <a:pt x="1145167" y="1227474"/>
                    <a:pt x="1184385" y="1241254"/>
                    <a:pt x="1224136" y="1268071"/>
                  </a:cubicBezTo>
                  <a:lnTo>
                    <a:pt x="1224136" y="1757156"/>
                  </a:lnTo>
                  <a:lnTo>
                    <a:pt x="737830" y="1757156"/>
                  </a:lnTo>
                  <a:cubicBezTo>
                    <a:pt x="709520" y="1799264"/>
                    <a:pt x="693507" y="1839997"/>
                    <a:pt x="715935" y="1885841"/>
                  </a:cubicBezTo>
                  <a:cubicBezTo>
                    <a:pt x="783004" y="1921763"/>
                    <a:pt x="828092" y="1992692"/>
                    <a:pt x="828092" y="2074152"/>
                  </a:cubicBezTo>
                  <a:cubicBezTo>
                    <a:pt x="828092" y="2133806"/>
                    <a:pt x="803913" y="2187812"/>
                    <a:pt x="764820" y="2226904"/>
                  </a:cubicBezTo>
                  <a:cubicBezTo>
                    <a:pt x="725727" y="2265997"/>
                    <a:pt x="671722" y="2290176"/>
                    <a:pt x="612068" y="2290176"/>
                  </a:cubicBezTo>
                  <a:cubicBezTo>
                    <a:pt x="492761" y="2290176"/>
                    <a:pt x="396044" y="2193459"/>
                    <a:pt x="396044" y="2074152"/>
                  </a:cubicBezTo>
                  <a:cubicBezTo>
                    <a:pt x="396044" y="1990768"/>
                    <a:pt x="443287" y="1918419"/>
                    <a:pt x="512919" y="1883280"/>
                  </a:cubicBezTo>
                  <a:cubicBezTo>
                    <a:pt x="532219" y="1839512"/>
                    <a:pt x="513618" y="1794157"/>
                    <a:pt x="486333" y="1757156"/>
                  </a:cubicBezTo>
                  <a:lnTo>
                    <a:pt x="0" y="1757156"/>
                  </a:lnTo>
                  <a:lnTo>
                    <a:pt x="0" y="1271295"/>
                  </a:lnTo>
                  <a:cubicBezTo>
                    <a:pt x="37251" y="1243817"/>
                    <a:pt x="82955" y="1224793"/>
                    <a:pt x="127049" y="1244237"/>
                  </a:cubicBezTo>
                  <a:cubicBezTo>
                    <a:pt x="162188" y="1313869"/>
                    <a:pt x="234537" y="1361112"/>
                    <a:pt x="317921" y="1361112"/>
                  </a:cubicBezTo>
                  <a:cubicBezTo>
                    <a:pt x="437228" y="1361112"/>
                    <a:pt x="533945" y="1264395"/>
                    <a:pt x="533945" y="1145088"/>
                  </a:cubicBezTo>
                  <a:cubicBezTo>
                    <a:pt x="533945" y="1085434"/>
                    <a:pt x="509766" y="1031429"/>
                    <a:pt x="470673" y="992336"/>
                  </a:cubicBezTo>
                  <a:cubicBezTo>
                    <a:pt x="431581" y="953243"/>
                    <a:pt x="377575" y="929064"/>
                    <a:pt x="317921" y="929064"/>
                  </a:cubicBezTo>
                  <a:cubicBezTo>
                    <a:pt x="236461" y="929064"/>
                    <a:pt x="165532" y="974152"/>
                    <a:pt x="129610" y="1041221"/>
                  </a:cubicBezTo>
                  <a:cubicBezTo>
                    <a:pt x="83460" y="1063799"/>
                    <a:pt x="42490" y="1047421"/>
                    <a:pt x="0" y="1018884"/>
                  </a:cubicBezTo>
                  <a:lnTo>
                    <a:pt x="0" y="533020"/>
                  </a:lnTo>
                  <a:lnTo>
                    <a:pt x="486306" y="533020"/>
                  </a:lnTo>
                  <a:cubicBezTo>
                    <a:pt x="514616" y="490912"/>
                    <a:pt x="530629" y="450179"/>
                    <a:pt x="508201" y="404335"/>
                  </a:cubicBezTo>
                  <a:cubicBezTo>
                    <a:pt x="441132" y="368413"/>
                    <a:pt x="396044" y="297484"/>
                    <a:pt x="396044" y="216024"/>
                  </a:cubicBezTo>
                  <a:cubicBezTo>
                    <a:pt x="396044" y="156370"/>
                    <a:pt x="420223" y="102364"/>
                    <a:pt x="459316" y="63272"/>
                  </a:cubicBezTo>
                  <a:cubicBezTo>
                    <a:pt x="498409" y="24179"/>
                    <a:pt x="552414" y="0"/>
                    <a:pt x="612068" y="0"/>
                  </a:cubicBezTo>
                  <a:cubicBezTo>
                    <a:pt x="671722" y="0"/>
                    <a:pt x="725728" y="24180"/>
                    <a:pt x="764820" y="63272"/>
                  </a:cubicBezTo>
                  <a:close/>
                </a:path>
              </a:pathLst>
            </a:custGeom>
            <a:solidFill>
              <a:schemeClr val="accent4"/>
            </a:solidFill>
            <a:ln w="12700" cap="flat" cmpd="sng" algn="ctr">
              <a:noFill/>
              <a:prstDash val="solid"/>
            </a:ln>
            <a:effectLst/>
          </p:spPr>
          <p:txBody>
            <a:bodyPr lIns="91440" tIns="91440" rIns="91440" bIns="9144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err="1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Oval 155"/>
            <p:cNvSpPr/>
            <p:nvPr/>
          </p:nvSpPr>
          <p:spPr>
            <a:xfrm rot="18900000">
              <a:off x="4764129" y="2699920"/>
              <a:ext cx="1224136" cy="2290177"/>
            </a:xfrm>
            <a:custGeom>
              <a:avLst/>
              <a:gdLst/>
              <a:ahLst/>
              <a:cxnLst/>
              <a:rect l="l" t="t" r="r" b="b"/>
              <a:pathLst>
                <a:path w="1224136" h="2290177">
                  <a:moveTo>
                    <a:pt x="764821" y="63272"/>
                  </a:moveTo>
                  <a:cubicBezTo>
                    <a:pt x="803914" y="102365"/>
                    <a:pt x="828093" y="156370"/>
                    <a:pt x="828093" y="216024"/>
                  </a:cubicBezTo>
                  <a:cubicBezTo>
                    <a:pt x="828093" y="299408"/>
                    <a:pt x="780850" y="371757"/>
                    <a:pt x="711218" y="406896"/>
                  </a:cubicBezTo>
                  <a:cubicBezTo>
                    <a:pt x="691918" y="450664"/>
                    <a:pt x="710519" y="496020"/>
                    <a:pt x="737804" y="533020"/>
                  </a:cubicBezTo>
                  <a:lnTo>
                    <a:pt x="1224136" y="533020"/>
                  </a:lnTo>
                  <a:lnTo>
                    <a:pt x="1224136" y="1019537"/>
                  </a:lnTo>
                  <a:cubicBezTo>
                    <a:pt x="1187233" y="1046745"/>
                    <a:pt x="1142014" y="1065183"/>
                    <a:pt x="1098373" y="1045938"/>
                  </a:cubicBezTo>
                  <a:cubicBezTo>
                    <a:pt x="1063233" y="976306"/>
                    <a:pt x="990884" y="929063"/>
                    <a:pt x="907500" y="929063"/>
                  </a:cubicBezTo>
                  <a:cubicBezTo>
                    <a:pt x="788193" y="929063"/>
                    <a:pt x="691476" y="1025780"/>
                    <a:pt x="691476" y="1145087"/>
                  </a:cubicBezTo>
                  <a:cubicBezTo>
                    <a:pt x="691476" y="1204741"/>
                    <a:pt x="715655" y="1258747"/>
                    <a:pt x="754748" y="1297839"/>
                  </a:cubicBezTo>
                  <a:cubicBezTo>
                    <a:pt x="793841" y="1336932"/>
                    <a:pt x="847846" y="1361111"/>
                    <a:pt x="907500" y="1361111"/>
                  </a:cubicBezTo>
                  <a:cubicBezTo>
                    <a:pt x="988961" y="1361111"/>
                    <a:pt x="1059890" y="1316024"/>
                    <a:pt x="1095811" y="1248954"/>
                  </a:cubicBezTo>
                  <a:cubicBezTo>
                    <a:pt x="1141537" y="1226584"/>
                    <a:pt x="1182177" y="1242456"/>
                    <a:pt x="1224136" y="1270677"/>
                  </a:cubicBezTo>
                  <a:lnTo>
                    <a:pt x="1224136" y="1757156"/>
                  </a:lnTo>
                  <a:lnTo>
                    <a:pt x="737831" y="1757156"/>
                  </a:lnTo>
                  <a:cubicBezTo>
                    <a:pt x="709521" y="1799265"/>
                    <a:pt x="693508" y="1839998"/>
                    <a:pt x="715937" y="1885842"/>
                  </a:cubicBezTo>
                  <a:cubicBezTo>
                    <a:pt x="783005" y="1921764"/>
                    <a:pt x="828094" y="1992693"/>
                    <a:pt x="828094" y="2074153"/>
                  </a:cubicBezTo>
                  <a:cubicBezTo>
                    <a:pt x="828093" y="2133807"/>
                    <a:pt x="803915" y="2187813"/>
                    <a:pt x="764821" y="2226905"/>
                  </a:cubicBezTo>
                  <a:cubicBezTo>
                    <a:pt x="725728" y="2265998"/>
                    <a:pt x="671723" y="2290177"/>
                    <a:pt x="612070" y="2290177"/>
                  </a:cubicBezTo>
                  <a:cubicBezTo>
                    <a:pt x="492762" y="2290177"/>
                    <a:pt x="396045" y="2193460"/>
                    <a:pt x="396045" y="2074153"/>
                  </a:cubicBezTo>
                  <a:cubicBezTo>
                    <a:pt x="396045" y="1990769"/>
                    <a:pt x="443288" y="1918420"/>
                    <a:pt x="512921" y="1883281"/>
                  </a:cubicBezTo>
                  <a:cubicBezTo>
                    <a:pt x="532220" y="1839513"/>
                    <a:pt x="513619" y="1794157"/>
                    <a:pt x="486333" y="1757155"/>
                  </a:cubicBezTo>
                  <a:lnTo>
                    <a:pt x="1" y="1757156"/>
                  </a:lnTo>
                  <a:lnTo>
                    <a:pt x="1" y="1271298"/>
                  </a:lnTo>
                  <a:cubicBezTo>
                    <a:pt x="37251" y="1243817"/>
                    <a:pt x="82956" y="1224794"/>
                    <a:pt x="127049" y="1244238"/>
                  </a:cubicBezTo>
                  <a:cubicBezTo>
                    <a:pt x="162189" y="1313869"/>
                    <a:pt x="234538" y="1361113"/>
                    <a:pt x="317921" y="1361113"/>
                  </a:cubicBezTo>
                  <a:cubicBezTo>
                    <a:pt x="437228" y="1361113"/>
                    <a:pt x="533945" y="1264396"/>
                    <a:pt x="533945" y="1145089"/>
                  </a:cubicBezTo>
                  <a:cubicBezTo>
                    <a:pt x="533945" y="1085435"/>
                    <a:pt x="509766" y="1031429"/>
                    <a:pt x="470673" y="992337"/>
                  </a:cubicBezTo>
                  <a:cubicBezTo>
                    <a:pt x="431581" y="953244"/>
                    <a:pt x="377575" y="929065"/>
                    <a:pt x="317921" y="929065"/>
                  </a:cubicBezTo>
                  <a:cubicBezTo>
                    <a:pt x="236461" y="929065"/>
                    <a:pt x="165532" y="974153"/>
                    <a:pt x="129610" y="1041222"/>
                  </a:cubicBezTo>
                  <a:cubicBezTo>
                    <a:pt x="83461" y="1063799"/>
                    <a:pt x="42491" y="1047422"/>
                    <a:pt x="0" y="1018884"/>
                  </a:cubicBezTo>
                  <a:lnTo>
                    <a:pt x="0" y="533020"/>
                  </a:lnTo>
                  <a:lnTo>
                    <a:pt x="486307" y="533020"/>
                  </a:lnTo>
                  <a:cubicBezTo>
                    <a:pt x="514617" y="490912"/>
                    <a:pt x="530630" y="450179"/>
                    <a:pt x="508202" y="404335"/>
                  </a:cubicBezTo>
                  <a:cubicBezTo>
                    <a:pt x="441133" y="368413"/>
                    <a:pt x="396045" y="297484"/>
                    <a:pt x="396045" y="216024"/>
                  </a:cubicBezTo>
                  <a:cubicBezTo>
                    <a:pt x="396045" y="156370"/>
                    <a:pt x="420224" y="102364"/>
                    <a:pt x="459317" y="63272"/>
                  </a:cubicBezTo>
                  <a:cubicBezTo>
                    <a:pt x="498410" y="24179"/>
                    <a:pt x="552415" y="0"/>
                    <a:pt x="612069" y="0"/>
                  </a:cubicBezTo>
                  <a:cubicBezTo>
                    <a:pt x="671723" y="0"/>
                    <a:pt x="725728" y="24179"/>
                    <a:pt x="764821" y="63272"/>
                  </a:cubicBezTo>
                  <a:close/>
                </a:path>
              </a:pathLst>
            </a:custGeom>
            <a:solidFill>
              <a:schemeClr val="accent2"/>
            </a:solidFill>
            <a:ln w="12700" cap="flat" cmpd="sng" algn="ctr">
              <a:noFill/>
              <a:prstDash val="solid"/>
            </a:ln>
            <a:effectLst/>
          </p:spPr>
          <p:txBody>
            <a:bodyPr lIns="91440" tIns="91440" rIns="91440" bIns="9144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err="1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Rectangle 140"/>
            <p:cNvSpPr/>
            <p:nvPr/>
          </p:nvSpPr>
          <p:spPr>
            <a:xfrm rot="2700000">
              <a:off x="5629954" y="3565744"/>
              <a:ext cx="1224136" cy="2290176"/>
            </a:xfrm>
            <a:custGeom>
              <a:avLst/>
              <a:gdLst/>
              <a:ahLst/>
              <a:cxnLst/>
              <a:rect l="l" t="t" r="r" b="b"/>
              <a:pathLst>
                <a:path w="1224136" h="2290176">
                  <a:moveTo>
                    <a:pt x="459315" y="63272"/>
                  </a:moveTo>
                  <a:cubicBezTo>
                    <a:pt x="498408" y="24178"/>
                    <a:pt x="552413" y="-1"/>
                    <a:pt x="612067" y="0"/>
                  </a:cubicBezTo>
                  <a:cubicBezTo>
                    <a:pt x="731374" y="-1"/>
                    <a:pt x="828091" y="96717"/>
                    <a:pt x="828091" y="216024"/>
                  </a:cubicBezTo>
                  <a:cubicBezTo>
                    <a:pt x="828091" y="299408"/>
                    <a:pt x="780848" y="371756"/>
                    <a:pt x="711216" y="406896"/>
                  </a:cubicBezTo>
                  <a:cubicBezTo>
                    <a:pt x="691916" y="450663"/>
                    <a:pt x="710517" y="496019"/>
                    <a:pt x="737802" y="533019"/>
                  </a:cubicBezTo>
                  <a:lnTo>
                    <a:pt x="1224136" y="533019"/>
                  </a:lnTo>
                  <a:lnTo>
                    <a:pt x="1224136" y="1022319"/>
                  </a:lnTo>
                  <a:cubicBezTo>
                    <a:pt x="1188699" y="1048297"/>
                    <a:pt x="1145539" y="1064335"/>
                    <a:pt x="1103821" y="1045939"/>
                  </a:cubicBezTo>
                  <a:cubicBezTo>
                    <a:pt x="1068681" y="976307"/>
                    <a:pt x="996332" y="929064"/>
                    <a:pt x="912948" y="929064"/>
                  </a:cubicBezTo>
                  <a:cubicBezTo>
                    <a:pt x="793641" y="929064"/>
                    <a:pt x="696924" y="1025781"/>
                    <a:pt x="696924" y="1145088"/>
                  </a:cubicBezTo>
                  <a:cubicBezTo>
                    <a:pt x="696924" y="1204742"/>
                    <a:pt x="721103" y="1258747"/>
                    <a:pt x="760196" y="1297840"/>
                  </a:cubicBezTo>
                  <a:cubicBezTo>
                    <a:pt x="799288" y="1336933"/>
                    <a:pt x="853295" y="1361112"/>
                    <a:pt x="912948" y="1361112"/>
                  </a:cubicBezTo>
                  <a:cubicBezTo>
                    <a:pt x="994408" y="1361112"/>
                    <a:pt x="1065338" y="1316024"/>
                    <a:pt x="1101259" y="1248955"/>
                  </a:cubicBezTo>
                  <a:cubicBezTo>
                    <a:pt x="1145166" y="1227475"/>
                    <a:pt x="1184384" y="1241255"/>
                    <a:pt x="1224136" y="1268072"/>
                  </a:cubicBezTo>
                  <a:lnTo>
                    <a:pt x="1224136" y="1757155"/>
                  </a:lnTo>
                  <a:lnTo>
                    <a:pt x="737830" y="1757155"/>
                  </a:lnTo>
                  <a:cubicBezTo>
                    <a:pt x="709519" y="1799263"/>
                    <a:pt x="693506" y="1839996"/>
                    <a:pt x="715934" y="1885841"/>
                  </a:cubicBezTo>
                  <a:cubicBezTo>
                    <a:pt x="783003" y="1921763"/>
                    <a:pt x="828091" y="1992692"/>
                    <a:pt x="828091" y="2074152"/>
                  </a:cubicBezTo>
                  <a:cubicBezTo>
                    <a:pt x="828091" y="2133806"/>
                    <a:pt x="803912" y="2187812"/>
                    <a:pt x="764819" y="2226904"/>
                  </a:cubicBezTo>
                  <a:cubicBezTo>
                    <a:pt x="725726" y="2265997"/>
                    <a:pt x="671721" y="2290176"/>
                    <a:pt x="612067" y="2290176"/>
                  </a:cubicBezTo>
                  <a:cubicBezTo>
                    <a:pt x="492760" y="2290176"/>
                    <a:pt x="396043" y="2193459"/>
                    <a:pt x="396043" y="2074152"/>
                  </a:cubicBezTo>
                  <a:cubicBezTo>
                    <a:pt x="396043" y="1990768"/>
                    <a:pt x="443286" y="1918419"/>
                    <a:pt x="512918" y="1883280"/>
                  </a:cubicBezTo>
                  <a:cubicBezTo>
                    <a:pt x="532219" y="1839511"/>
                    <a:pt x="513617" y="1794156"/>
                    <a:pt x="486332" y="1757155"/>
                  </a:cubicBezTo>
                  <a:lnTo>
                    <a:pt x="0" y="1757155"/>
                  </a:lnTo>
                  <a:lnTo>
                    <a:pt x="0" y="1270658"/>
                  </a:lnTo>
                  <a:cubicBezTo>
                    <a:pt x="36913" y="1243440"/>
                    <a:pt x="82146" y="1224987"/>
                    <a:pt x="125800" y="1244235"/>
                  </a:cubicBezTo>
                  <a:cubicBezTo>
                    <a:pt x="160938" y="1313868"/>
                    <a:pt x="233287" y="1361111"/>
                    <a:pt x="316671" y="1361111"/>
                  </a:cubicBezTo>
                  <a:cubicBezTo>
                    <a:pt x="435979" y="1361111"/>
                    <a:pt x="532696" y="1264394"/>
                    <a:pt x="532695" y="1145087"/>
                  </a:cubicBezTo>
                  <a:cubicBezTo>
                    <a:pt x="532696" y="1085433"/>
                    <a:pt x="508516" y="1031428"/>
                    <a:pt x="469423" y="992335"/>
                  </a:cubicBezTo>
                  <a:cubicBezTo>
                    <a:pt x="430331" y="953241"/>
                    <a:pt x="376325" y="929063"/>
                    <a:pt x="316671" y="929063"/>
                  </a:cubicBezTo>
                  <a:cubicBezTo>
                    <a:pt x="235212" y="929062"/>
                    <a:pt x="164282" y="974151"/>
                    <a:pt x="128360" y="1041219"/>
                  </a:cubicBezTo>
                  <a:cubicBezTo>
                    <a:pt x="82624" y="1063596"/>
                    <a:pt x="41974" y="1047710"/>
                    <a:pt x="0" y="1019480"/>
                  </a:cubicBezTo>
                  <a:lnTo>
                    <a:pt x="0" y="533019"/>
                  </a:lnTo>
                  <a:lnTo>
                    <a:pt x="486306" y="533019"/>
                  </a:lnTo>
                  <a:cubicBezTo>
                    <a:pt x="514616" y="490911"/>
                    <a:pt x="530629" y="450179"/>
                    <a:pt x="508200" y="404335"/>
                  </a:cubicBezTo>
                  <a:cubicBezTo>
                    <a:pt x="441131" y="368413"/>
                    <a:pt x="396043" y="297484"/>
                    <a:pt x="396043" y="216024"/>
                  </a:cubicBezTo>
                  <a:cubicBezTo>
                    <a:pt x="396043" y="156370"/>
                    <a:pt x="420223" y="102364"/>
                    <a:pt x="459315" y="63272"/>
                  </a:cubicBezTo>
                  <a:close/>
                </a:path>
              </a:pathLst>
            </a:custGeom>
            <a:solidFill>
              <a:srgbClr val="0D8390"/>
            </a:solidFill>
            <a:ln w="12700" cap="flat" cmpd="sng" algn="ctr">
              <a:noFill/>
              <a:prstDash val="solid"/>
            </a:ln>
            <a:effectLst/>
          </p:spPr>
          <p:txBody>
            <a:bodyPr lIns="91440" tIns="91440" rIns="91440" bIns="9144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err="1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7589508" y="1922027"/>
              <a:ext cx="1606465" cy="55207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sz="1600" b="1" dirty="0" err="1" smtClean="0">
                  <a:solidFill>
                    <a:schemeClr val="accent3"/>
                  </a:solidFill>
                  <a:latin typeface="Calibri"/>
                </a:rPr>
                <a:t>Cuentas</a:t>
              </a:r>
              <a:r>
                <a:rPr lang="en-US" sz="1600" b="1" dirty="0" smtClean="0">
                  <a:solidFill>
                    <a:schemeClr val="accent3"/>
                  </a:solidFill>
                  <a:latin typeface="Calibri"/>
                </a:rPr>
                <a:t> </a:t>
              </a:r>
              <a:r>
                <a:rPr lang="en-US" sz="1600" b="1" dirty="0" err="1" smtClean="0">
                  <a:solidFill>
                    <a:schemeClr val="accent3"/>
                  </a:solidFill>
                  <a:latin typeface="Calibri"/>
                </a:rPr>
                <a:t>por</a:t>
              </a:r>
              <a:r>
                <a:rPr lang="en-US" sz="1600" b="1" dirty="0" smtClean="0">
                  <a:solidFill>
                    <a:schemeClr val="accent3"/>
                  </a:solidFill>
                  <a:latin typeface="Calibri"/>
                </a:rPr>
                <a:t> </a:t>
              </a:r>
              <a:r>
                <a:rPr lang="en-US" sz="1600" b="1" dirty="0" err="1" smtClean="0">
                  <a:solidFill>
                    <a:schemeClr val="accent3"/>
                  </a:solidFill>
                  <a:latin typeface="Calibri"/>
                </a:rPr>
                <a:t>Cobrar</a:t>
              </a:r>
              <a:endParaRPr lang="en-US" sz="1600" dirty="0">
                <a:solidFill>
                  <a:schemeClr val="accent3"/>
                </a:solidFill>
                <a:latin typeface="Calibri"/>
              </a:endParaRP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7979724" y="4959803"/>
              <a:ext cx="1888558" cy="27603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sz="1600" b="1" dirty="0" err="1" smtClean="0">
                  <a:solidFill>
                    <a:schemeClr val="accent4"/>
                  </a:solidFill>
                  <a:latin typeface="Calibri"/>
                </a:rPr>
                <a:t>Cuentas</a:t>
              </a:r>
              <a:r>
                <a:rPr lang="en-US" sz="1600" b="1" dirty="0" smtClean="0">
                  <a:solidFill>
                    <a:schemeClr val="accent4"/>
                  </a:solidFill>
                  <a:latin typeface="Calibri"/>
                </a:rPr>
                <a:t> </a:t>
              </a:r>
              <a:r>
                <a:rPr lang="en-US" sz="1600" b="1" dirty="0" err="1" smtClean="0">
                  <a:solidFill>
                    <a:schemeClr val="accent4"/>
                  </a:solidFill>
                  <a:latin typeface="Calibri"/>
                </a:rPr>
                <a:t>por</a:t>
              </a:r>
              <a:r>
                <a:rPr lang="en-US" sz="1600" b="1" dirty="0" smtClean="0">
                  <a:solidFill>
                    <a:schemeClr val="accent4"/>
                  </a:solidFill>
                  <a:latin typeface="Calibri"/>
                </a:rPr>
                <a:t> </a:t>
              </a:r>
              <a:r>
                <a:rPr lang="en-US" sz="1600" b="1" dirty="0" err="1" smtClean="0">
                  <a:solidFill>
                    <a:schemeClr val="accent4"/>
                  </a:solidFill>
                  <a:latin typeface="Calibri"/>
                </a:rPr>
                <a:t>Pagar</a:t>
              </a:r>
              <a:endParaRPr lang="en-US" sz="1600" dirty="0">
                <a:solidFill>
                  <a:schemeClr val="accent4"/>
                </a:solidFill>
                <a:latin typeface="Calibri"/>
              </a:endParaRP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2651763" y="2086908"/>
              <a:ext cx="1606466" cy="55207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r"/>
              <a:r>
                <a:rPr lang="en-US" sz="1600" b="1" dirty="0" smtClean="0">
                  <a:solidFill>
                    <a:schemeClr val="accent2"/>
                  </a:solidFill>
                  <a:latin typeface="Calibri"/>
                </a:rPr>
                <a:t>Balance </a:t>
              </a:r>
            </a:p>
            <a:p>
              <a:pPr algn="r"/>
              <a:r>
                <a:rPr lang="en-US" sz="1600" b="1" dirty="0" smtClean="0">
                  <a:solidFill>
                    <a:schemeClr val="accent2"/>
                  </a:solidFill>
                  <a:latin typeface="Calibri"/>
                </a:rPr>
                <a:t>General</a:t>
              </a:r>
              <a:endParaRPr lang="en-US" sz="1600" dirty="0">
                <a:solidFill>
                  <a:schemeClr val="accent2"/>
                </a:solidFill>
                <a:latin typeface="Calibri"/>
              </a:endParaRP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3451970" y="4870899"/>
              <a:ext cx="1606464" cy="55207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sz="1600" b="1" dirty="0" err="1" smtClean="0">
                  <a:solidFill>
                    <a:srgbClr val="0D8390"/>
                  </a:solidFill>
                  <a:latin typeface="Calibri"/>
                </a:rPr>
                <a:t>Manuales</a:t>
              </a:r>
              <a:r>
                <a:rPr lang="en-US" sz="1600" b="1" dirty="0" smtClean="0">
                  <a:solidFill>
                    <a:srgbClr val="0D8390"/>
                  </a:solidFill>
                  <a:latin typeface="Calibri"/>
                </a:rPr>
                <a:t> de </a:t>
              </a:r>
              <a:r>
                <a:rPr lang="en-US" sz="1600" b="1" dirty="0" err="1" smtClean="0">
                  <a:solidFill>
                    <a:srgbClr val="0D8390"/>
                  </a:solidFill>
                  <a:latin typeface="Calibri"/>
                </a:rPr>
                <a:t>Usuario</a:t>
              </a:r>
              <a:endParaRPr lang="en-US" sz="16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4" name="Freeform 33"/>
            <p:cNvSpPr/>
            <p:nvPr/>
          </p:nvSpPr>
          <p:spPr bwMode="gray">
            <a:xfrm flipH="1">
              <a:off x="6438900" y="1855961"/>
              <a:ext cx="2133600" cy="464893"/>
            </a:xfrm>
            <a:custGeom>
              <a:avLst/>
              <a:gdLst>
                <a:gd name="connsiteX0" fmla="*/ 1575303 w 1575303"/>
                <a:gd name="connsiteY0" fmla="*/ 1403288 h 1403288"/>
                <a:gd name="connsiteX1" fmla="*/ 1575303 w 1575303"/>
                <a:gd name="connsiteY1" fmla="*/ 0 h 1403288"/>
                <a:gd name="connsiteX2" fmla="*/ 0 w 1575303"/>
                <a:gd name="connsiteY2" fmla="*/ 0 h 1403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75303" h="1403288">
                  <a:moveTo>
                    <a:pt x="1575303" y="1403288"/>
                  </a:moveTo>
                  <a:lnTo>
                    <a:pt x="1575303" y="0"/>
                  </a:lnTo>
                  <a:lnTo>
                    <a:pt x="0" y="0"/>
                  </a:lnTo>
                </a:path>
              </a:pathLst>
            </a:custGeom>
            <a:noFill/>
            <a:ln w="9525" algn="ctr">
              <a:solidFill>
                <a:srgbClr val="BBBCBC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>
                <a:solidFill>
                  <a:srgbClr val="007CB0"/>
                </a:solidFill>
                <a:latin typeface="Calibri"/>
              </a:endParaRPr>
            </a:p>
          </p:txBody>
        </p:sp>
        <p:sp>
          <p:nvSpPr>
            <p:cNvPr id="35" name="Freeform 34"/>
            <p:cNvSpPr/>
            <p:nvPr/>
          </p:nvSpPr>
          <p:spPr bwMode="gray">
            <a:xfrm>
              <a:off x="3597245" y="2670416"/>
              <a:ext cx="1575303" cy="519734"/>
            </a:xfrm>
            <a:custGeom>
              <a:avLst/>
              <a:gdLst>
                <a:gd name="connsiteX0" fmla="*/ 1575303 w 1575303"/>
                <a:gd name="connsiteY0" fmla="*/ 1403288 h 1403288"/>
                <a:gd name="connsiteX1" fmla="*/ 1575303 w 1575303"/>
                <a:gd name="connsiteY1" fmla="*/ 0 h 1403288"/>
                <a:gd name="connsiteX2" fmla="*/ 0 w 1575303"/>
                <a:gd name="connsiteY2" fmla="*/ 0 h 1403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75303" h="1403288">
                  <a:moveTo>
                    <a:pt x="1575303" y="1403288"/>
                  </a:moveTo>
                  <a:lnTo>
                    <a:pt x="1575303" y="0"/>
                  </a:lnTo>
                  <a:lnTo>
                    <a:pt x="0" y="0"/>
                  </a:lnTo>
                </a:path>
              </a:pathLst>
            </a:custGeom>
            <a:noFill/>
            <a:ln w="9525" algn="ctr">
              <a:solidFill>
                <a:srgbClr val="BBBCBC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>
                <a:solidFill>
                  <a:srgbClr val="007CB0"/>
                </a:solidFill>
                <a:latin typeface="Calibri"/>
              </a:endParaRPr>
            </a:p>
          </p:txBody>
        </p:sp>
        <p:sp>
          <p:nvSpPr>
            <p:cNvPr id="36" name="Freeform 35"/>
            <p:cNvSpPr/>
            <p:nvPr/>
          </p:nvSpPr>
          <p:spPr bwMode="gray">
            <a:xfrm rot="10800000">
              <a:off x="7324724" y="4485891"/>
              <a:ext cx="1247775" cy="867155"/>
            </a:xfrm>
            <a:custGeom>
              <a:avLst/>
              <a:gdLst>
                <a:gd name="connsiteX0" fmla="*/ 1575303 w 1575303"/>
                <a:gd name="connsiteY0" fmla="*/ 1403288 h 1403288"/>
                <a:gd name="connsiteX1" fmla="*/ 1575303 w 1575303"/>
                <a:gd name="connsiteY1" fmla="*/ 0 h 1403288"/>
                <a:gd name="connsiteX2" fmla="*/ 0 w 1575303"/>
                <a:gd name="connsiteY2" fmla="*/ 0 h 1403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75303" h="1403288">
                  <a:moveTo>
                    <a:pt x="1575303" y="1403288"/>
                  </a:moveTo>
                  <a:lnTo>
                    <a:pt x="1575303" y="0"/>
                  </a:lnTo>
                  <a:lnTo>
                    <a:pt x="0" y="0"/>
                  </a:lnTo>
                </a:path>
              </a:pathLst>
            </a:custGeom>
            <a:noFill/>
            <a:ln w="9525" algn="ctr">
              <a:solidFill>
                <a:srgbClr val="BBBCBC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>
                <a:solidFill>
                  <a:srgbClr val="007CB0"/>
                </a:solidFill>
                <a:latin typeface="Calibri"/>
              </a:endParaRPr>
            </a:p>
          </p:txBody>
        </p:sp>
        <p:sp>
          <p:nvSpPr>
            <p:cNvPr id="37" name="Freeform 36"/>
            <p:cNvSpPr/>
            <p:nvPr/>
          </p:nvSpPr>
          <p:spPr bwMode="gray">
            <a:xfrm rot="16200000">
              <a:off x="4224495" y="3965128"/>
              <a:ext cx="418353" cy="2110935"/>
            </a:xfrm>
            <a:custGeom>
              <a:avLst/>
              <a:gdLst>
                <a:gd name="connsiteX0" fmla="*/ 1575303 w 1575303"/>
                <a:gd name="connsiteY0" fmla="*/ 1403288 h 1403288"/>
                <a:gd name="connsiteX1" fmla="*/ 1575303 w 1575303"/>
                <a:gd name="connsiteY1" fmla="*/ 0 h 1403288"/>
                <a:gd name="connsiteX2" fmla="*/ 0 w 1575303"/>
                <a:gd name="connsiteY2" fmla="*/ 0 h 1403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75303" h="1403288">
                  <a:moveTo>
                    <a:pt x="1575303" y="1403288"/>
                  </a:moveTo>
                  <a:lnTo>
                    <a:pt x="1575303" y="0"/>
                  </a:lnTo>
                  <a:lnTo>
                    <a:pt x="0" y="0"/>
                  </a:lnTo>
                </a:path>
              </a:pathLst>
            </a:custGeom>
            <a:noFill/>
            <a:ln w="9525" algn="ctr">
              <a:solidFill>
                <a:srgbClr val="BBBCBC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sz="1600">
                <a:solidFill>
                  <a:srgbClr val="007CB0"/>
                </a:solidFill>
                <a:latin typeface="Calibri"/>
              </a:endParaRPr>
            </a:p>
          </p:txBody>
        </p:sp>
      </p:grpSp>
      <p:sp>
        <p:nvSpPr>
          <p:cNvPr id="42" name="Freeform 885">
            <a:extLst>
              <a:ext uri="{FF2B5EF4-FFF2-40B4-BE49-F238E27FC236}">
                <a16:creationId xmlns:a16="http://schemas.microsoft.com/office/drawing/2014/main" id="{568699C8-21AD-4570-991A-83E0A935791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632074" y="3064344"/>
            <a:ext cx="836932" cy="760847"/>
          </a:xfrm>
          <a:custGeom>
            <a:avLst/>
            <a:gdLst>
              <a:gd name="T0" fmla="*/ 296 w 562"/>
              <a:gd name="T1" fmla="*/ 234 h 512"/>
              <a:gd name="T2" fmla="*/ 398 w 562"/>
              <a:gd name="T3" fmla="*/ 234 h 512"/>
              <a:gd name="T4" fmla="*/ 398 w 562"/>
              <a:gd name="T5" fmla="*/ 373 h 512"/>
              <a:gd name="T6" fmla="*/ 163 w 562"/>
              <a:gd name="T7" fmla="*/ 373 h 512"/>
              <a:gd name="T8" fmla="*/ 163 w 562"/>
              <a:gd name="T9" fmla="*/ 213 h 512"/>
              <a:gd name="T10" fmla="*/ 219 w 562"/>
              <a:gd name="T11" fmla="*/ 213 h 512"/>
              <a:gd name="T12" fmla="*/ 233 w 562"/>
              <a:gd name="T13" fmla="*/ 230 h 512"/>
              <a:gd name="T14" fmla="*/ 241 w 562"/>
              <a:gd name="T15" fmla="*/ 234 h 512"/>
              <a:gd name="T16" fmla="*/ 275 w 562"/>
              <a:gd name="T17" fmla="*/ 234 h 512"/>
              <a:gd name="T18" fmla="*/ 270 w 562"/>
              <a:gd name="T19" fmla="*/ 283 h 512"/>
              <a:gd name="T20" fmla="*/ 246 w 562"/>
              <a:gd name="T21" fmla="*/ 259 h 512"/>
              <a:gd name="T22" fmla="*/ 230 w 562"/>
              <a:gd name="T23" fmla="*/ 259 h 512"/>
              <a:gd name="T24" fmla="*/ 230 w 562"/>
              <a:gd name="T25" fmla="*/ 274 h 512"/>
              <a:gd name="T26" fmla="*/ 273 w 562"/>
              <a:gd name="T27" fmla="*/ 317 h 512"/>
              <a:gd name="T28" fmla="*/ 281 w 562"/>
              <a:gd name="T29" fmla="*/ 320 h 512"/>
              <a:gd name="T30" fmla="*/ 288 w 562"/>
              <a:gd name="T31" fmla="*/ 317 h 512"/>
              <a:gd name="T32" fmla="*/ 331 w 562"/>
              <a:gd name="T33" fmla="*/ 274 h 512"/>
              <a:gd name="T34" fmla="*/ 331 w 562"/>
              <a:gd name="T35" fmla="*/ 259 h 512"/>
              <a:gd name="T36" fmla="*/ 316 w 562"/>
              <a:gd name="T37" fmla="*/ 259 h 512"/>
              <a:gd name="T38" fmla="*/ 291 w 562"/>
              <a:gd name="T39" fmla="*/ 283 h 512"/>
              <a:gd name="T40" fmla="*/ 296 w 562"/>
              <a:gd name="T41" fmla="*/ 234 h 512"/>
              <a:gd name="T42" fmla="*/ 462 w 562"/>
              <a:gd name="T43" fmla="*/ 437 h 512"/>
              <a:gd name="T44" fmla="*/ 281 w 562"/>
              <a:gd name="T45" fmla="*/ 512 h 512"/>
              <a:gd name="T46" fmla="*/ 100 w 562"/>
              <a:gd name="T47" fmla="*/ 437 h 512"/>
              <a:gd name="T48" fmla="*/ 100 w 562"/>
              <a:gd name="T49" fmla="*/ 75 h 512"/>
              <a:gd name="T50" fmla="*/ 281 w 562"/>
              <a:gd name="T51" fmla="*/ 0 h 512"/>
              <a:gd name="T52" fmla="*/ 462 w 562"/>
              <a:gd name="T53" fmla="*/ 75 h 512"/>
              <a:gd name="T54" fmla="*/ 462 w 562"/>
              <a:gd name="T55" fmla="*/ 437 h 512"/>
              <a:gd name="T56" fmla="*/ 419 w 562"/>
              <a:gd name="T57" fmla="*/ 224 h 512"/>
              <a:gd name="T58" fmla="*/ 409 w 562"/>
              <a:gd name="T59" fmla="*/ 213 h 512"/>
              <a:gd name="T60" fmla="*/ 302 w 562"/>
              <a:gd name="T61" fmla="*/ 213 h 512"/>
              <a:gd name="T62" fmla="*/ 403 w 562"/>
              <a:gd name="T63" fmla="*/ 149 h 512"/>
              <a:gd name="T64" fmla="*/ 414 w 562"/>
              <a:gd name="T65" fmla="*/ 138 h 512"/>
              <a:gd name="T66" fmla="*/ 403 w 562"/>
              <a:gd name="T67" fmla="*/ 128 h 512"/>
              <a:gd name="T68" fmla="*/ 280 w 562"/>
              <a:gd name="T69" fmla="*/ 213 h 512"/>
              <a:gd name="T70" fmla="*/ 246 w 562"/>
              <a:gd name="T71" fmla="*/ 213 h 512"/>
              <a:gd name="T72" fmla="*/ 232 w 562"/>
              <a:gd name="T73" fmla="*/ 196 h 512"/>
              <a:gd name="T74" fmla="*/ 224 w 562"/>
              <a:gd name="T75" fmla="*/ 192 h 512"/>
              <a:gd name="T76" fmla="*/ 153 w 562"/>
              <a:gd name="T77" fmla="*/ 192 h 512"/>
              <a:gd name="T78" fmla="*/ 142 w 562"/>
              <a:gd name="T79" fmla="*/ 202 h 512"/>
              <a:gd name="T80" fmla="*/ 142 w 562"/>
              <a:gd name="T81" fmla="*/ 384 h 512"/>
              <a:gd name="T82" fmla="*/ 153 w 562"/>
              <a:gd name="T83" fmla="*/ 394 h 512"/>
              <a:gd name="T84" fmla="*/ 409 w 562"/>
              <a:gd name="T85" fmla="*/ 394 h 512"/>
              <a:gd name="T86" fmla="*/ 419 w 562"/>
              <a:gd name="T87" fmla="*/ 384 h 512"/>
              <a:gd name="T88" fmla="*/ 419 w 562"/>
              <a:gd name="T89" fmla="*/ 22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562" h="512">
                <a:moveTo>
                  <a:pt x="296" y="234"/>
                </a:moveTo>
                <a:cubicBezTo>
                  <a:pt x="398" y="234"/>
                  <a:pt x="398" y="234"/>
                  <a:pt x="398" y="234"/>
                </a:cubicBezTo>
                <a:cubicBezTo>
                  <a:pt x="398" y="373"/>
                  <a:pt x="398" y="373"/>
                  <a:pt x="398" y="373"/>
                </a:cubicBezTo>
                <a:cubicBezTo>
                  <a:pt x="163" y="373"/>
                  <a:pt x="163" y="373"/>
                  <a:pt x="163" y="373"/>
                </a:cubicBezTo>
                <a:cubicBezTo>
                  <a:pt x="163" y="213"/>
                  <a:pt x="163" y="213"/>
                  <a:pt x="163" y="213"/>
                </a:cubicBezTo>
                <a:cubicBezTo>
                  <a:pt x="219" y="213"/>
                  <a:pt x="219" y="213"/>
                  <a:pt x="219" y="213"/>
                </a:cubicBezTo>
                <a:cubicBezTo>
                  <a:pt x="233" y="230"/>
                  <a:pt x="233" y="230"/>
                  <a:pt x="233" y="230"/>
                </a:cubicBezTo>
                <a:cubicBezTo>
                  <a:pt x="235" y="233"/>
                  <a:pt x="238" y="234"/>
                  <a:pt x="241" y="234"/>
                </a:cubicBezTo>
                <a:cubicBezTo>
                  <a:pt x="275" y="234"/>
                  <a:pt x="275" y="234"/>
                  <a:pt x="275" y="234"/>
                </a:cubicBezTo>
                <a:cubicBezTo>
                  <a:pt x="272" y="249"/>
                  <a:pt x="270" y="266"/>
                  <a:pt x="270" y="283"/>
                </a:cubicBezTo>
                <a:cubicBezTo>
                  <a:pt x="246" y="259"/>
                  <a:pt x="246" y="259"/>
                  <a:pt x="246" y="259"/>
                </a:cubicBezTo>
                <a:cubicBezTo>
                  <a:pt x="241" y="255"/>
                  <a:pt x="235" y="255"/>
                  <a:pt x="230" y="259"/>
                </a:cubicBezTo>
                <a:cubicBezTo>
                  <a:pt x="226" y="263"/>
                  <a:pt x="226" y="270"/>
                  <a:pt x="230" y="274"/>
                </a:cubicBezTo>
                <a:cubicBezTo>
                  <a:pt x="273" y="317"/>
                  <a:pt x="273" y="317"/>
                  <a:pt x="273" y="317"/>
                </a:cubicBezTo>
                <a:cubicBezTo>
                  <a:pt x="275" y="319"/>
                  <a:pt x="278" y="320"/>
                  <a:pt x="281" y="320"/>
                </a:cubicBezTo>
                <a:cubicBezTo>
                  <a:pt x="283" y="320"/>
                  <a:pt x="286" y="319"/>
                  <a:pt x="288" y="317"/>
                </a:cubicBezTo>
                <a:cubicBezTo>
                  <a:pt x="331" y="274"/>
                  <a:pt x="331" y="274"/>
                  <a:pt x="331" y="274"/>
                </a:cubicBezTo>
                <a:cubicBezTo>
                  <a:pt x="335" y="270"/>
                  <a:pt x="335" y="263"/>
                  <a:pt x="331" y="259"/>
                </a:cubicBezTo>
                <a:cubicBezTo>
                  <a:pt x="327" y="255"/>
                  <a:pt x="320" y="255"/>
                  <a:pt x="316" y="259"/>
                </a:cubicBezTo>
                <a:cubicBezTo>
                  <a:pt x="291" y="283"/>
                  <a:pt x="291" y="283"/>
                  <a:pt x="291" y="283"/>
                </a:cubicBezTo>
                <a:cubicBezTo>
                  <a:pt x="292" y="265"/>
                  <a:pt x="293" y="249"/>
                  <a:pt x="296" y="234"/>
                </a:cubicBezTo>
                <a:close/>
                <a:moveTo>
                  <a:pt x="462" y="437"/>
                </a:moveTo>
                <a:cubicBezTo>
                  <a:pt x="412" y="487"/>
                  <a:pt x="346" y="512"/>
                  <a:pt x="281" y="512"/>
                </a:cubicBezTo>
                <a:cubicBezTo>
                  <a:pt x="215" y="512"/>
                  <a:pt x="150" y="487"/>
                  <a:pt x="100" y="437"/>
                </a:cubicBezTo>
                <a:cubicBezTo>
                  <a:pt x="0" y="337"/>
                  <a:pt x="0" y="175"/>
                  <a:pt x="100" y="75"/>
                </a:cubicBezTo>
                <a:cubicBezTo>
                  <a:pt x="150" y="25"/>
                  <a:pt x="215" y="0"/>
                  <a:pt x="281" y="0"/>
                </a:cubicBezTo>
                <a:cubicBezTo>
                  <a:pt x="346" y="0"/>
                  <a:pt x="412" y="25"/>
                  <a:pt x="462" y="75"/>
                </a:cubicBezTo>
                <a:cubicBezTo>
                  <a:pt x="562" y="175"/>
                  <a:pt x="562" y="337"/>
                  <a:pt x="462" y="437"/>
                </a:cubicBezTo>
                <a:close/>
                <a:moveTo>
                  <a:pt x="419" y="224"/>
                </a:moveTo>
                <a:cubicBezTo>
                  <a:pt x="419" y="218"/>
                  <a:pt x="415" y="213"/>
                  <a:pt x="409" y="213"/>
                </a:cubicBezTo>
                <a:cubicBezTo>
                  <a:pt x="302" y="213"/>
                  <a:pt x="302" y="213"/>
                  <a:pt x="302" y="213"/>
                </a:cubicBezTo>
                <a:cubicBezTo>
                  <a:pt x="318" y="170"/>
                  <a:pt x="351" y="149"/>
                  <a:pt x="403" y="149"/>
                </a:cubicBezTo>
                <a:cubicBezTo>
                  <a:pt x="409" y="149"/>
                  <a:pt x="414" y="144"/>
                  <a:pt x="414" y="138"/>
                </a:cubicBezTo>
                <a:cubicBezTo>
                  <a:pt x="414" y="132"/>
                  <a:pt x="409" y="128"/>
                  <a:pt x="403" y="128"/>
                </a:cubicBezTo>
                <a:cubicBezTo>
                  <a:pt x="339" y="128"/>
                  <a:pt x="298" y="157"/>
                  <a:pt x="280" y="213"/>
                </a:cubicBezTo>
                <a:cubicBezTo>
                  <a:pt x="246" y="213"/>
                  <a:pt x="246" y="213"/>
                  <a:pt x="246" y="213"/>
                </a:cubicBezTo>
                <a:cubicBezTo>
                  <a:pt x="232" y="196"/>
                  <a:pt x="232" y="196"/>
                  <a:pt x="232" y="196"/>
                </a:cubicBezTo>
                <a:cubicBezTo>
                  <a:pt x="230" y="193"/>
                  <a:pt x="227" y="192"/>
                  <a:pt x="224" y="192"/>
                </a:cubicBezTo>
                <a:cubicBezTo>
                  <a:pt x="153" y="192"/>
                  <a:pt x="153" y="192"/>
                  <a:pt x="153" y="192"/>
                </a:cubicBezTo>
                <a:cubicBezTo>
                  <a:pt x="147" y="192"/>
                  <a:pt x="142" y="196"/>
                  <a:pt x="142" y="202"/>
                </a:cubicBezTo>
                <a:cubicBezTo>
                  <a:pt x="142" y="384"/>
                  <a:pt x="142" y="384"/>
                  <a:pt x="142" y="384"/>
                </a:cubicBezTo>
                <a:cubicBezTo>
                  <a:pt x="142" y="390"/>
                  <a:pt x="147" y="394"/>
                  <a:pt x="153" y="394"/>
                </a:cubicBezTo>
                <a:cubicBezTo>
                  <a:pt x="409" y="394"/>
                  <a:pt x="409" y="394"/>
                  <a:pt x="409" y="394"/>
                </a:cubicBezTo>
                <a:cubicBezTo>
                  <a:pt x="415" y="394"/>
                  <a:pt x="419" y="390"/>
                  <a:pt x="419" y="384"/>
                </a:cubicBezTo>
                <a:lnTo>
                  <a:pt x="419" y="22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43" name="Freeform 897">
            <a:extLst>
              <a:ext uri="{FF2B5EF4-FFF2-40B4-BE49-F238E27FC236}">
                <a16:creationId xmlns:a16="http://schemas.microsoft.com/office/drawing/2014/main" id="{1BD279C0-2F3A-49B4-8A3B-C64A2D94915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437703" y="5630284"/>
            <a:ext cx="836932" cy="760847"/>
          </a:xfrm>
          <a:custGeom>
            <a:avLst/>
            <a:gdLst>
              <a:gd name="T0" fmla="*/ 296 w 562"/>
              <a:gd name="T1" fmla="*/ 234 h 512"/>
              <a:gd name="T2" fmla="*/ 398 w 562"/>
              <a:gd name="T3" fmla="*/ 234 h 512"/>
              <a:gd name="T4" fmla="*/ 398 w 562"/>
              <a:gd name="T5" fmla="*/ 373 h 512"/>
              <a:gd name="T6" fmla="*/ 163 w 562"/>
              <a:gd name="T7" fmla="*/ 373 h 512"/>
              <a:gd name="T8" fmla="*/ 163 w 562"/>
              <a:gd name="T9" fmla="*/ 213 h 512"/>
              <a:gd name="T10" fmla="*/ 219 w 562"/>
              <a:gd name="T11" fmla="*/ 213 h 512"/>
              <a:gd name="T12" fmla="*/ 233 w 562"/>
              <a:gd name="T13" fmla="*/ 230 h 512"/>
              <a:gd name="T14" fmla="*/ 241 w 562"/>
              <a:gd name="T15" fmla="*/ 234 h 512"/>
              <a:gd name="T16" fmla="*/ 275 w 562"/>
              <a:gd name="T17" fmla="*/ 234 h 512"/>
              <a:gd name="T18" fmla="*/ 270 w 562"/>
              <a:gd name="T19" fmla="*/ 288 h 512"/>
              <a:gd name="T20" fmla="*/ 281 w 562"/>
              <a:gd name="T21" fmla="*/ 298 h 512"/>
              <a:gd name="T22" fmla="*/ 291 w 562"/>
              <a:gd name="T23" fmla="*/ 288 h 512"/>
              <a:gd name="T24" fmla="*/ 296 w 562"/>
              <a:gd name="T25" fmla="*/ 234 h 512"/>
              <a:gd name="T26" fmla="*/ 462 w 562"/>
              <a:gd name="T27" fmla="*/ 437 h 512"/>
              <a:gd name="T28" fmla="*/ 281 w 562"/>
              <a:gd name="T29" fmla="*/ 512 h 512"/>
              <a:gd name="T30" fmla="*/ 100 w 562"/>
              <a:gd name="T31" fmla="*/ 437 h 512"/>
              <a:gd name="T32" fmla="*/ 100 w 562"/>
              <a:gd name="T33" fmla="*/ 75 h 512"/>
              <a:gd name="T34" fmla="*/ 281 w 562"/>
              <a:gd name="T35" fmla="*/ 0 h 512"/>
              <a:gd name="T36" fmla="*/ 462 w 562"/>
              <a:gd name="T37" fmla="*/ 75 h 512"/>
              <a:gd name="T38" fmla="*/ 462 w 562"/>
              <a:gd name="T39" fmla="*/ 437 h 512"/>
              <a:gd name="T40" fmla="*/ 419 w 562"/>
              <a:gd name="T41" fmla="*/ 224 h 512"/>
              <a:gd name="T42" fmla="*/ 409 w 562"/>
              <a:gd name="T43" fmla="*/ 213 h 512"/>
              <a:gd name="T44" fmla="*/ 302 w 562"/>
              <a:gd name="T45" fmla="*/ 213 h 512"/>
              <a:gd name="T46" fmla="*/ 386 w 562"/>
              <a:gd name="T47" fmla="*/ 150 h 512"/>
              <a:gd name="T48" fmla="*/ 367 w 562"/>
              <a:gd name="T49" fmla="*/ 174 h 512"/>
              <a:gd name="T50" fmla="*/ 369 w 562"/>
              <a:gd name="T51" fmla="*/ 189 h 512"/>
              <a:gd name="T52" fmla="*/ 376 w 562"/>
              <a:gd name="T53" fmla="*/ 191 h 512"/>
              <a:gd name="T54" fmla="*/ 384 w 562"/>
              <a:gd name="T55" fmla="*/ 187 h 512"/>
              <a:gd name="T56" fmla="*/ 417 w 562"/>
              <a:gd name="T57" fmla="*/ 145 h 512"/>
              <a:gd name="T58" fmla="*/ 415 w 562"/>
              <a:gd name="T59" fmla="*/ 130 h 512"/>
              <a:gd name="T60" fmla="*/ 373 w 562"/>
              <a:gd name="T61" fmla="*/ 97 h 512"/>
              <a:gd name="T62" fmla="*/ 358 w 562"/>
              <a:gd name="T63" fmla="*/ 99 h 512"/>
              <a:gd name="T64" fmla="*/ 360 w 562"/>
              <a:gd name="T65" fmla="*/ 114 h 512"/>
              <a:gd name="T66" fmla="*/ 380 w 562"/>
              <a:gd name="T67" fmla="*/ 129 h 512"/>
              <a:gd name="T68" fmla="*/ 280 w 562"/>
              <a:gd name="T69" fmla="*/ 213 h 512"/>
              <a:gd name="T70" fmla="*/ 246 w 562"/>
              <a:gd name="T71" fmla="*/ 213 h 512"/>
              <a:gd name="T72" fmla="*/ 232 w 562"/>
              <a:gd name="T73" fmla="*/ 196 h 512"/>
              <a:gd name="T74" fmla="*/ 224 w 562"/>
              <a:gd name="T75" fmla="*/ 192 h 512"/>
              <a:gd name="T76" fmla="*/ 153 w 562"/>
              <a:gd name="T77" fmla="*/ 192 h 512"/>
              <a:gd name="T78" fmla="*/ 142 w 562"/>
              <a:gd name="T79" fmla="*/ 202 h 512"/>
              <a:gd name="T80" fmla="*/ 142 w 562"/>
              <a:gd name="T81" fmla="*/ 384 h 512"/>
              <a:gd name="T82" fmla="*/ 153 w 562"/>
              <a:gd name="T83" fmla="*/ 394 h 512"/>
              <a:gd name="T84" fmla="*/ 409 w 562"/>
              <a:gd name="T85" fmla="*/ 394 h 512"/>
              <a:gd name="T86" fmla="*/ 419 w 562"/>
              <a:gd name="T87" fmla="*/ 384 h 512"/>
              <a:gd name="T88" fmla="*/ 419 w 562"/>
              <a:gd name="T89" fmla="*/ 22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562" h="512">
                <a:moveTo>
                  <a:pt x="296" y="234"/>
                </a:moveTo>
                <a:cubicBezTo>
                  <a:pt x="398" y="234"/>
                  <a:pt x="398" y="234"/>
                  <a:pt x="398" y="234"/>
                </a:cubicBezTo>
                <a:cubicBezTo>
                  <a:pt x="398" y="373"/>
                  <a:pt x="398" y="373"/>
                  <a:pt x="398" y="373"/>
                </a:cubicBezTo>
                <a:cubicBezTo>
                  <a:pt x="163" y="373"/>
                  <a:pt x="163" y="373"/>
                  <a:pt x="163" y="373"/>
                </a:cubicBezTo>
                <a:cubicBezTo>
                  <a:pt x="163" y="213"/>
                  <a:pt x="163" y="213"/>
                  <a:pt x="163" y="213"/>
                </a:cubicBezTo>
                <a:cubicBezTo>
                  <a:pt x="219" y="213"/>
                  <a:pt x="219" y="213"/>
                  <a:pt x="219" y="213"/>
                </a:cubicBezTo>
                <a:cubicBezTo>
                  <a:pt x="233" y="230"/>
                  <a:pt x="233" y="230"/>
                  <a:pt x="233" y="230"/>
                </a:cubicBezTo>
                <a:cubicBezTo>
                  <a:pt x="235" y="233"/>
                  <a:pt x="238" y="234"/>
                  <a:pt x="241" y="234"/>
                </a:cubicBezTo>
                <a:cubicBezTo>
                  <a:pt x="275" y="234"/>
                  <a:pt x="275" y="234"/>
                  <a:pt x="275" y="234"/>
                </a:cubicBezTo>
                <a:cubicBezTo>
                  <a:pt x="272" y="250"/>
                  <a:pt x="270" y="268"/>
                  <a:pt x="270" y="288"/>
                </a:cubicBezTo>
                <a:cubicBezTo>
                  <a:pt x="270" y="294"/>
                  <a:pt x="275" y="298"/>
                  <a:pt x="281" y="298"/>
                </a:cubicBezTo>
                <a:cubicBezTo>
                  <a:pt x="287" y="298"/>
                  <a:pt x="291" y="294"/>
                  <a:pt x="291" y="288"/>
                </a:cubicBezTo>
                <a:cubicBezTo>
                  <a:pt x="291" y="268"/>
                  <a:pt x="293" y="250"/>
                  <a:pt x="296" y="234"/>
                </a:cubicBezTo>
                <a:close/>
                <a:moveTo>
                  <a:pt x="462" y="437"/>
                </a:moveTo>
                <a:cubicBezTo>
                  <a:pt x="412" y="487"/>
                  <a:pt x="346" y="512"/>
                  <a:pt x="281" y="512"/>
                </a:cubicBezTo>
                <a:cubicBezTo>
                  <a:pt x="215" y="512"/>
                  <a:pt x="150" y="487"/>
                  <a:pt x="100" y="437"/>
                </a:cubicBezTo>
                <a:cubicBezTo>
                  <a:pt x="0" y="337"/>
                  <a:pt x="0" y="175"/>
                  <a:pt x="100" y="75"/>
                </a:cubicBezTo>
                <a:cubicBezTo>
                  <a:pt x="150" y="25"/>
                  <a:pt x="215" y="0"/>
                  <a:pt x="281" y="0"/>
                </a:cubicBezTo>
                <a:cubicBezTo>
                  <a:pt x="346" y="0"/>
                  <a:pt x="412" y="25"/>
                  <a:pt x="462" y="75"/>
                </a:cubicBezTo>
                <a:cubicBezTo>
                  <a:pt x="562" y="175"/>
                  <a:pt x="562" y="337"/>
                  <a:pt x="462" y="437"/>
                </a:cubicBezTo>
                <a:close/>
                <a:moveTo>
                  <a:pt x="419" y="224"/>
                </a:moveTo>
                <a:cubicBezTo>
                  <a:pt x="419" y="218"/>
                  <a:pt x="415" y="213"/>
                  <a:pt x="409" y="213"/>
                </a:cubicBezTo>
                <a:cubicBezTo>
                  <a:pt x="302" y="213"/>
                  <a:pt x="302" y="213"/>
                  <a:pt x="302" y="213"/>
                </a:cubicBezTo>
                <a:cubicBezTo>
                  <a:pt x="316" y="174"/>
                  <a:pt x="344" y="154"/>
                  <a:pt x="386" y="150"/>
                </a:cubicBezTo>
                <a:cubicBezTo>
                  <a:pt x="367" y="174"/>
                  <a:pt x="367" y="174"/>
                  <a:pt x="367" y="174"/>
                </a:cubicBezTo>
                <a:cubicBezTo>
                  <a:pt x="364" y="178"/>
                  <a:pt x="365" y="185"/>
                  <a:pt x="369" y="189"/>
                </a:cubicBezTo>
                <a:cubicBezTo>
                  <a:pt x="371" y="190"/>
                  <a:pt x="373" y="191"/>
                  <a:pt x="376" y="191"/>
                </a:cubicBezTo>
                <a:cubicBezTo>
                  <a:pt x="379" y="191"/>
                  <a:pt x="382" y="190"/>
                  <a:pt x="384" y="187"/>
                </a:cubicBezTo>
                <a:cubicBezTo>
                  <a:pt x="417" y="145"/>
                  <a:pt x="417" y="145"/>
                  <a:pt x="417" y="145"/>
                </a:cubicBezTo>
                <a:cubicBezTo>
                  <a:pt x="421" y="140"/>
                  <a:pt x="420" y="134"/>
                  <a:pt x="415" y="130"/>
                </a:cubicBezTo>
                <a:cubicBezTo>
                  <a:pt x="373" y="97"/>
                  <a:pt x="373" y="97"/>
                  <a:pt x="373" y="97"/>
                </a:cubicBezTo>
                <a:cubicBezTo>
                  <a:pt x="369" y="93"/>
                  <a:pt x="362" y="94"/>
                  <a:pt x="358" y="99"/>
                </a:cubicBezTo>
                <a:cubicBezTo>
                  <a:pt x="355" y="104"/>
                  <a:pt x="355" y="110"/>
                  <a:pt x="360" y="114"/>
                </a:cubicBezTo>
                <a:cubicBezTo>
                  <a:pt x="380" y="129"/>
                  <a:pt x="380" y="129"/>
                  <a:pt x="380" y="129"/>
                </a:cubicBezTo>
                <a:cubicBezTo>
                  <a:pt x="329" y="136"/>
                  <a:pt x="295" y="164"/>
                  <a:pt x="280" y="213"/>
                </a:cubicBezTo>
                <a:cubicBezTo>
                  <a:pt x="246" y="213"/>
                  <a:pt x="246" y="213"/>
                  <a:pt x="246" y="213"/>
                </a:cubicBezTo>
                <a:cubicBezTo>
                  <a:pt x="232" y="196"/>
                  <a:pt x="232" y="196"/>
                  <a:pt x="232" y="196"/>
                </a:cubicBezTo>
                <a:cubicBezTo>
                  <a:pt x="230" y="193"/>
                  <a:pt x="227" y="192"/>
                  <a:pt x="224" y="192"/>
                </a:cubicBezTo>
                <a:cubicBezTo>
                  <a:pt x="153" y="192"/>
                  <a:pt x="153" y="192"/>
                  <a:pt x="153" y="192"/>
                </a:cubicBezTo>
                <a:cubicBezTo>
                  <a:pt x="147" y="192"/>
                  <a:pt x="142" y="196"/>
                  <a:pt x="142" y="202"/>
                </a:cubicBezTo>
                <a:cubicBezTo>
                  <a:pt x="142" y="384"/>
                  <a:pt x="142" y="384"/>
                  <a:pt x="142" y="384"/>
                </a:cubicBezTo>
                <a:cubicBezTo>
                  <a:pt x="142" y="390"/>
                  <a:pt x="147" y="394"/>
                  <a:pt x="153" y="394"/>
                </a:cubicBezTo>
                <a:cubicBezTo>
                  <a:pt x="409" y="394"/>
                  <a:pt x="409" y="394"/>
                  <a:pt x="409" y="394"/>
                </a:cubicBezTo>
                <a:cubicBezTo>
                  <a:pt x="415" y="394"/>
                  <a:pt x="419" y="390"/>
                  <a:pt x="419" y="384"/>
                </a:cubicBezTo>
                <a:lnTo>
                  <a:pt x="419" y="224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49" name="Text Placeholder 8"/>
          <p:cNvSpPr txBox="1">
            <a:spLocks/>
          </p:cNvSpPr>
          <p:nvPr/>
        </p:nvSpPr>
        <p:spPr>
          <a:xfrm>
            <a:off x="463273" y="2136736"/>
            <a:ext cx="7137399" cy="28840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64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r>
              <a:rPr lang="es-419" sz="1600" dirty="0" smtClean="0">
                <a:solidFill>
                  <a:schemeClr val="accent4"/>
                </a:solidFill>
                <a:latin typeface="Verdana"/>
              </a:rPr>
              <a:t>Preparación Final</a:t>
            </a:r>
            <a:endParaRPr lang="es-419" sz="1600" dirty="0">
              <a:solidFill>
                <a:schemeClr val="accent4"/>
              </a:solidFill>
              <a:latin typeface="Verdana"/>
            </a:endParaRPr>
          </a:p>
        </p:txBody>
      </p:sp>
      <p:grpSp>
        <p:nvGrpSpPr>
          <p:cNvPr id="38" name="Graphic 4">
            <a:extLst>
              <a:ext uri="{FF2B5EF4-FFF2-40B4-BE49-F238E27FC236}">
                <a16:creationId xmlns:a16="http://schemas.microsoft.com/office/drawing/2014/main" id="{C4B9DD9A-1D92-E04A-944D-8FC5CCA3CEB2}"/>
              </a:ext>
            </a:extLst>
          </p:cNvPr>
          <p:cNvGrpSpPr/>
          <p:nvPr/>
        </p:nvGrpSpPr>
        <p:grpSpPr>
          <a:xfrm>
            <a:off x="442800" y="2516400"/>
            <a:ext cx="824400" cy="802800"/>
            <a:chOff x="905454" y="4308712"/>
            <a:chExt cx="362309" cy="361971"/>
          </a:xfrm>
          <a:solidFill>
            <a:schemeClr val="accent1"/>
          </a:solidFill>
        </p:grpSpPr>
        <p:sp>
          <p:nvSpPr>
            <p:cNvPr id="39" name="Graphic 4">
              <a:extLst>
                <a:ext uri="{FF2B5EF4-FFF2-40B4-BE49-F238E27FC236}">
                  <a16:creationId xmlns:a16="http://schemas.microsoft.com/office/drawing/2014/main" id="{63F216EF-B4E2-B74C-B0A6-FBA8CEC14BAB}"/>
                </a:ext>
              </a:extLst>
            </p:cNvPr>
            <p:cNvSpPr/>
            <p:nvPr/>
          </p:nvSpPr>
          <p:spPr>
            <a:xfrm>
              <a:off x="1017917" y="4399914"/>
              <a:ext cx="136105" cy="110343"/>
            </a:xfrm>
            <a:custGeom>
              <a:avLst/>
              <a:gdLst>
                <a:gd name="connsiteX0" fmla="*/ 63899 w 136105"/>
                <a:gd name="connsiteY0" fmla="*/ 11580 h 110343"/>
                <a:gd name="connsiteX1" fmla="*/ 0 w 136105"/>
                <a:gd name="connsiteY1" fmla="*/ 10304 h 110343"/>
                <a:gd name="connsiteX2" fmla="*/ 0 w 136105"/>
                <a:gd name="connsiteY2" fmla="*/ 92657 h 110343"/>
                <a:gd name="connsiteX3" fmla="*/ 35145 w 136105"/>
                <a:gd name="connsiteY3" fmla="*/ 83719 h 110343"/>
                <a:gd name="connsiteX4" fmla="*/ 72845 w 136105"/>
                <a:gd name="connsiteY4" fmla="*/ 99041 h 110343"/>
                <a:gd name="connsiteX5" fmla="*/ 136106 w 136105"/>
                <a:gd name="connsiteY5" fmla="*/ 100318 h 110343"/>
                <a:gd name="connsiteX6" fmla="*/ 136106 w 136105"/>
                <a:gd name="connsiteY6" fmla="*/ 17964 h 110343"/>
                <a:gd name="connsiteX7" fmla="*/ 63899 w 136105"/>
                <a:gd name="connsiteY7" fmla="*/ 11580 h 110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6105" h="110343">
                  <a:moveTo>
                    <a:pt x="63899" y="11580"/>
                  </a:moveTo>
                  <a:cubicBezTo>
                    <a:pt x="41535" y="-10764"/>
                    <a:pt x="10224" y="5196"/>
                    <a:pt x="0" y="10304"/>
                  </a:cubicBezTo>
                  <a:lnTo>
                    <a:pt x="0" y="92657"/>
                  </a:lnTo>
                  <a:cubicBezTo>
                    <a:pt x="10863" y="86911"/>
                    <a:pt x="23004" y="84358"/>
                    <a:pt x="35145" y="83719"/>
                  </a:cubicBezTo>
                  <a:cubicBezTo>
                    <a:pt x="49202" y="83719"/>
                    <a:pt x="62621" y="88826"/>
                    <a:pt x="72845" y="99041"/>
                  </a:cubicBezTo>
                  <a:cubicBezTo>
                    <a:pt x="94571" y="120746"/>
                    <a:pt x="126521" y="105425"/>
                    <a:pt x="136106" y="100318"/>
                  </a:cubicBezTo>
                  <a:lnTo>
                    <a:pt x="136106" y="17964"/>
                  </a:lnTo>
                  <a:cubicBezTo>
                    <a:pt x="116936" y="26902"/>
                    <a:pt x="86264" y="33924"/>
                    <a:pt x="63899" y="1158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Graphic 4">
              <a:extLst>
                <a:ext uri="{FF2B5EF4-FFF2-40B4-BE49-F238E27FC236}">
                  <a16:creationId xmlns:a16="http://schemas.microsoft.com/office/drawing/2014/main" id="{353C408D-A7C6-E341-873D-2EF51A7BF044}"/>
                </a:ext>
              </a:extLst>
            </p:cNvPr>
            <p:cNvSpPr/>
            <p:nvPr/>
          </p:nvSpPr>
          <p:spPr>
            <a:xfrm>
              <a:off x="905454" y="4308712"/>
              <a:ext cx="362309" cy="361971"/>
            </a:xfrm>
            <a:custGeom>
              <a:avLst/>
              <a:gdLst>
                <a:gd name="connsiteX0" fmla="*/ 180835 w 362309"/>
                <a:gd name="connsiteY0" fmla="*/ 0 h 361971"/>
                <a:gd name="connsiteX1" fmla="*/ 0 w 362309"/>
                <a:gd name="connsiteY1" fmla="*/ 180667 h 361971"/>
                <a:gd name="connsiteX2" fmla="*/ 180835 w 362309"/>
                <a:gd name="connsiteY2" fmla="*/ 361972 h 361971"/>
                <a:gd name="connsiteX3" fmla="*/ 362309 w 362309"/>
                <a:gd name="connsiteY3" fmla="*/ 180667 h 361971"/>
                <a:gd name="connsiteX4" fmla="*/ 362309 w 362309"/>
                <a:gd name="connsiteY4" fmla="*/ 180667 h 361971"/>
                <a:gd name="connsiteX5" fmla="*/ 180835 w 362309"/>
                <a:gd name="connsiteY5" fmla="*/ 0 h 361971"/>
                <a:gd name="connsiteX6" fmla="*/ 261987 w 362309"/>
                <a:gd name="connsiteY6" fmla="*/ 194711 h 361971"/>
                <a:gd name="connsiteX7" fmla="*/ 259431 w 362309"/>
                <a:gd name="connsiteY7" fmla="*/ 199819 h 361971"/>
                <a:gd name="connsiteX8" fmla="*/ 177001 w 362309"/>
                <a:gd name="connsiteY8" fmla="*/ 199180 h 361971"/>
                <a:gd name="connsiteX9" fmla="*/ 113102 w 362309"/>
                <a:gd name="connsiteY9" fmla="*/ 197903 h 361971"/>
                <a:gd name="connsiteX10" fmla="*/ 113102 w 362309"/>
                <a:gd name="connsiteY10" fmla="*/ 276426 h 361971"/>
                <a:gd name="connsiteX11" fmla="*/ 106712 w 362309"/>
                <a:gd name="connsiteY11" fmla="*/ 282810 h 361971"/>
                <a:gd name="connsiteX12" fmla="*/ 100322 w 362309"/>
                <a:gd name="connsiteY12" fmla="*/ 276426 h 361971"/>
                <a:gd name="connsiteX13" fmla="*/ 100322 w 362309"/>
                <a:gd name="connsiteY13" fmla="*/ 97675 h 361971"/>
                <a:gd name="connsiteX14" fmla="*/ 102878 w 362309"/>
                <a:gd name="connsiteY14" fmla="*/ 92568 h 361971"/>
                <a:gd name="connsiteX15" fmla="*/ 185308 w 362309"/>
                <a:gd name="connsiteY15" fmla="*/ 93206 h 361971"/>
                <a:gd name="connsiteX16" fmla="*/ 251764 w 362309"/>
                <a:gd name="connsiteY16" fmla="*/ 92568 h 361971"/>
                <a:gd name="connsiteX17" fmla="*/ 258154 w 362309"/>
                <a:gd name="connsiteY17" fmla="*/ 92568 h 361971"/>
                <a:gd name="connsiteX18" fmla="*/ 261348 w 362309"/>
                <a:gd name="connsiteY18" fmla="*/ 98313 h 361971"/>
                <a:gd name="connsiteX19" fmla="*/ 261987 w 362309"/>
                <a:gd name="connsiteY19" fmla="*/ 194711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62309" h="361971">
                  <a:moveTo>
                    <a:pt x="180835" y="0"/>
                  </a:moveTo>
                  <a:cubicBezTo>
                    <a:pt x="80513" y="0"/>
                    <a:pt x="0" y="81077"/>
                    <a:pt x="0" y="180667"/>
                  </a:cubicBezTo>
                  <a:cubicBezTo>
                    <a:pt x="0" y="280895"/>
                    <a:pt x="81152" y="361972"/>
                    <a:pt x="180835" y="361972"/>
                  </a:cubicBezTo>
                  <a:cubicBezTo>
                    <a:pt x="280518" y="361972"/>
                    <a:pt x="362309" y="280895"/>
                    <a:pt x="362309" y="180667"/>
                  </a:cubicBezTo>
                  <a:cubicBezTo>
                    <a:pt x="362309" y="180667"/>
                    <a:pt x="362309" y="180667"/>
                    <a:pt x="362309" y="180667"/>
                  </a:cubicBezTo>
                  <a:cubicBezTo>
                    <a:pt x="361670" y="81077"/>
                    <a:pt x="281157" y="0"/>
                    <a:pt x="180835" y="0"/>
                  </a:cubicBezTo>
                  <a:close/>
                  <a:moveTo>
                    <a:pt x="261987" y="194711"/>
                  </a:moveTo>
                  <a:cubicBezTo>
                    <a:pt x="261987" y="196627"/>
                    <a:pt x="260709" y="199180"/>
                    <a:pt x="259431" y="199819"/>
                  </a:cubicBezTo>
                  <a:cubicBezTo>
                    <a:pt x="242179" y="211310"/>
                    <a:pt x="203200" y="225355"/>
                    <a:pt x="177001" y="199180"/>
                  </a:cubicBezTo>
                  <a:cubicBezTo>
                    <a:pt x="154636" y="176836"/>
                    <a:pt x="122687" y="192796"/>
                    <a:pt x="113102" y="197903"/>
                  </a:cubicBezTo>
                  <a:lnTo>
                    <a:pt x="113102" y="276426"/>
                  </a:lnTo>
                  <a:cubicBezTo>
                    <a:pt x="113102" y="280257"/>
                    <a:pt x="110546" y="282810"/>
                    <a:pt x="106712" y="282810"/>
                  </a:cubicBezTo>
                  <a:cubicBezTo>
                    <a:pt x="102878" y="282810"/>
                    <a:pt x="100322" y="280257"/>
                    <a:pt x="100322" y="276426"/>
                  </a:cubicBezTo>
                  <a:lnTo>
                    <a:pt x="100322" y="97675"/>
                  </a:lnTo>
                  <a:cubicBezTo>
                    <a:pt x="100322" y="95760"/>
                    <a:pt x="101600" y="93845"/>
                    <a:pt x="102878" y="92568"/>
                  </a:cubicBezTo>
                  <a:cubicBezTo>
                    <a:pt x="119492" y="81077"/>
                    <a:pt x="158470" y="66394"/>
                    <a:pt x="185308" y="93206"/>
                  </a:cubicBezTo>
                  <a:cubicBezTo>
                    <a:pt x="210868" y="118742"/>
                    <a:pt x="251125" y="92568"/>
                    <a:pt x="251764" y="92568"/>
                  </a:cubicBezTo>
                  <a:cubicBezTo>
                    <a:pt x="253680" y="91291"/>
                    <a:pt x="256237" y="91291"/>
                    <a:pt x="258154" y="92568"/>
                  </a:cubicBezTo>
                  <a:cubicBezTo>
                    <a:pt x="260070" y="93845"/>
                    <a:pt x="261348" y="95760"/>
                    <a:pt x="261348" y="98313"/>
                  </a:cubicBezTo>
                  <a:lnTo>
                    <a:pt x="261987" y="194711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5" name="Graphic 4">
            <a:extLst>
              <a:ext uri="{FF2B5EF4-FFF2-40B4-BE49-F238E27FC236}">
                <a16:creationId xmlns:a16="http://schemas.microsoft.com/office/drawing/2014/main" id="{2EB1C894-20EC-6D4E-B383-95AEBEF434D6}"/>
              </a:ext>
            </a:extLst>
          </p:cNvPr>
          <p:cNvSpPr/>
          <p:nvPr/>
        </p:nvSpPr>
        <p:spPr>
          <a:xfrm>
            <a:off x="2471848" y="3311970"/>
            <a:ext cx="763531" cy="750343"/>
          </a:xfrm>
          <a:custGeom>
            <a:avLst/>
            <a:gdLst>
              <a:gd name="connsiteX0" fmla="*/ 180835 w 361670"/>
              <a:gd name="connsiteY0" fmla="*/ 0 h 361333"/>
              <a:gd name="connsiteX1" fmla="*/ 0 w 361670"/>
              <a:gd name="connsiteY1" fmla="*/ 180667 h 361333"/>
              <a:gd name="connsiteX2" fmla="*/ 180835 w 361670"/>
              <a:gd name="connsiteY2" fmla="*/ 361333 h 361333"/>
              <a:gd name="connsiteX3" fmla="*/ 361670 w 361670"/>
              <a:gd name="connsiteY3" fmla="*/ 180667 h 361333"/>
              <a:gd name="connsiteX4" fmla="*/ 180835 w 361670"/>
              <a:gd name="connsiteY4" fmla="*/ 0 h 361333"/>
              <a:gd name="connsiteX5" fmla="*/ 244735 w 361670"/>
              <a:gd name="connsiteY5" fmla="*/ 180667 h 361333"/>
              <a:gd name="connsiteX6" fmla="*/ 251124 w 361670"/>
              <a:gd name="connsiteY6" fmla="*/ 174283 h 361333"/>
              <a:gd name="connsiteX7" fmla="*/ 257514 w 361670"/>
              <a:gd name="connsiteY7" fmla="*/ 180667 h 361333"/>
              <a:gd name="connsiteX8" fmla="*/ 257514 w 361670"/>
              <a:gd name="connsiteY8" fmla="*/ 222801 h 361333"/>
              <a:gd name="connsiteX9" fmla="*/ 251124 w 361670"/>
              <a:gd name="connsiteY9" fmla="*/ 229185 h 361333"/>
              <a:gd name="connsiteX10" fmla="*/ 244735 w 361670"/>
              <a:gd name="connsiteY10" fmla="*/ 222801 h 361333"/>
              <a:gd name="connsiteX11" fmla="*/ 244735 w 361670"/>
              <a:gd name="connsiteY11" fmla="*/ 180667 h 361333"/>
              <a:gd name="connsiteX12" fmla="*/ 216619 w 361670"/>
              <a:gd name="connsiteY12" fmla="*/ 125126 h 361333"/>
              <a:gd name="connsiteX13" fmla="*/ 223009 w 361670"/>
              <a:gd name="connsiteY13" fmla="*/ 118742 h 361333"/>
              <a:gd name="connsiteX14" fmla="*/ 229399 w 361670"/>
              <a:gd name="connsiteY14" fmla="*/ 125126 h 361333"/>
              <a:gd name="connsiteX15" fmla="*/ 229399 w 361670"/>
              <a:gd name="connsiteY15" fmla="*/ 223439 h 361333"/>
              <a:gd name="connsiteX16" fmla="*/ 223009 w 361670"/>
              <a:gd name="connsiteY16" fmla="*/ 229823 h 361333"/>
              <a:gd name="connsiteX17" fmla="*/ 216619 w 361670"/>
              <a:gd name="connsiteY17" fmla="*/ 223439 h 361333"/>
              <a:gd name="connsiteX18" fmla="*/ 216619 w 361670"/>
              <a:gd name="connsiteY18" fmla="*/ 125126 h 361333"/>
              <a:gd name="connsiteX19" fmla="*/ 188503 w 361670"/>
              <a:gd name="connsiteY19" fmla="*/ 146193 h 361333"/>
              <a:gd name="connsiteX20" fmla="*/ 194893 w 361670"/>
              <a:gd name="connsiteY20" fmla="*/ 139809 h 361333"/>
              <a:gd name="connsiteX21" fmla="*/ 201283 w 361670"/>
              <a:gd name="connsiteY21" fmla="*/ 146193 h 361333"/>
              <a:gd name="connsiteX22" fmla="*/ 201283 w 361670"/>
              <a:gd name="connsiteY22" fmla="*/ 223439 h 361333"/>
              <a:gd name="connsiteX23" fmla="*/ 194893 w 361670"/>
              <a:gd name="connsiteY23" fmla="*/ 229823 h 361333"/>
              <a:gd name="connsiteX24" fmla="*/ 188503 w 361670"/>
              <a:gd name="connsiteY24" fmla="*/ 223439 h 361333"/>
              <a:gd name="connsiteX25" fmla="*/ 188503 w 361670"/>
              <a:gd name="connsiteY25" fmla="*/ 146193 h 361333"/>
              <a:gd name="connsiteX26" fmla="*/ 160387 w 361670"/>
              <a:gd name="connsiteY26" fmla="*/ 111081 h 361333"/>
              <a:gd name="connsiteX27" fmla="*/ 166777 w 361670"/>
              <a:gd name="connsiteY27" fmla="*/ 104697 h 361333"/>
              <a:gd name="connsiteX28" fmla="*/ 173167 w 361670"/>
              <a:gd name="connsiteY28" fmla="*/ 111081 h 361333"/>
              <a:gd name="connsiteX29" fmla="*/ 173167 w 361670"/>
              <a:gd name="connsiteY29" fmla="*/ 223439 h 361333"/>
              <a:gd name="connsiteX30" fmla="*/ 166777 w 361670"/>
              <a:gd name="connsiteY30" fmla="*/ 229823 h 361333"/>
              <a:gd name="connsiteX31" fmla="*/ 160387 w 361670"/>
              <a:gd name="connsiteY31" fmla="*/ 223439 h 361333"/>
              <a:gd name="connsiteX32" fmla="*/ 160387 w 361670"/>
              <a:gd name="connsiteY32" fmla="*/ 111081 h 361333"/>
              <a:gd name="connsiteX33" fmla="*/ 132272 w 361670"/>
              <a:gd name="connsiteY33" fmla="*/ 173644 h 361333"/>
              <a:gd name="connsiteX34" fmla="*/ 138662 w 361670"/>
              <a:gd name="connsiteY34" fmla="*/ 167260 h 361333"/>
              <a:gd name="connsiteX35" fmla="*/ 145052 w 361670"/>
              <a:gd name="connsiteY35" fmla="*/ 173644 h 361333"/>
              <a:gd name="connsiteX36" fmla="*/ 145052 w 361670"/>
              <a:gd name="connsiteY36" fmla="*/ 222801 h 361333"/>
              <a:gd name="connsiteX37" fmla="*/ 138662 w 361670"/>
              <a:gd name="connsiteY37" fmla="*/ 229185 h 361333"/>
              <a:gd name="connsiteX38" fmla="*/ 132272 w 361670"/>
              <a:gd name="connsiteY38" fmla="*/ 222801 h 361333"/>
              <a:gd name="connsiteX39" fmla="*/ 132272 w 361670"/>
              <a:gd name="connsiteY39" fmla="*/ 173644 h 361333"/>
              <a:gd name="connsiteX40" fmla="*/ 104156 w 361670"/>
              <a:gd name="connsiteY40" fmla="*/ 194711 h 361333"/>
              <a:gd name="connsiteX41" fmla="*/ 110546 w 361670"/>
              <a:gd name="connsiteY41" fmla="*/ 188327 h 361333"/>
              <a:gd name="connsiteX42" fmla="*/ 116936 w 361670"/>
              <a:gd name="connsiteY42" fmla="*/ 194711 h 361333"/>
              <a:gd name="connsiteX43" fmla="*/ 116936 w 361670"/>
              <a:gd name="connsiteY43" fmla="*/ 222801 h 361333"/>
              <a:gd name="connsiteX44" fmla="*/ 110546 w 361670"/>
              <a:gd name="connsiteY44" fmla="*/ 229185 h 361333"/>
              <a:gd name="connsiteX45" fmla="*/ 104156 w 361670"/>
              <a:gd name="connsiteY45" fmla="*/ 222801 h 361333"/>
              <a:gd name="connsiteX46" fmla="*/ 104156 w 361670"/>
              <a:gd name="connsiteY46" fmla="*/ 194711 h 361333"/>
              <a:gd name="connsiteX47" fmla="*/ 279240 w 361670"/>
              <a:gd name="connsiteY47" fmla="*/ 257275 h 361333"/>
              <a:gd name="connsiteX48" fmla="*/ 83069 w 361670"/>
              <a:gd name="connsiteY48" fmla="*/ 257275 h 361333"/>
              <a:gd name="connsiteX49" fmla="*/ 76679 w 361670"/>
              <a:gd name="connsiteY49" fmla="*/ 250891 h 361333"/>
              <a:gd name="connsiteX50" fmla="*/ 76679 w 361670"/>
              <a:gd name="connsiteY50" fmla="*/ 111081 h 361333"/>
              <a:gd name="connsiteX51" fmla="*/ 83069 w 361670"/>
              <a:gd name="connsiteY51" fmla="*/ 104697 h 361333"/>
              <a:gd name="connsiteX52" fmla="*/ 89459 w 361670"/>
              <a:gd name="connsiteY52" fmla="*/ 111081 h 361333"/>
              <a:gd name="connsiteX53" fmla="*/ 89459 w 361670"/>
              <a:gd name="connsiteY53" fmla="*/ 244507 h 361333"/>
              <a:gd name="connsiteX54" fmla="*/ 279240 w 361670"/>
              <a:gd name="connsiteY54" fmla="*/ 244507 h 361333"/>
              <a:gd name="connsiteX55" fmla="*/ 285630 w 361670"/>
              <a:gd name="connsiteY55" fmla="*/ 250891 h 361333"/>
              <a:gd name="connsiteX56" fmla="*/ 279240 w 361670"/>
              <a:gd name="connsiteY56" fmla="*/ 257275 h 361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361670" h="361333">
                <a:moveTo>
                  <a:pt x="180835" y="0"/>
                </a:moveTo>
                <a:cubicBezTo>
                  <a:pt x="80513" y="0"/>
                  <a:pt x="0" y="81077"/>
                  <a:pt x="0" y="180667"/>
                </a:cubicBezTo>
                <a:cubicBezTo>
                  <a:pt x="0" y="280895"/>
                  <a:pt x="81152" y="361333"/>
                  <a:pt x="180835" y="361333"/>
                </a:cubicBezTo>
                <a:cubicBezTo>
                  <a:pt x="280518" y="361333"/>
                  <a:pt x="361670" y="280257"/>
                  <a:pt x="361670" y="180667"/>
                </a:cubicBezTo>
                <a:cubicBezTo>
                  <a:pt x="361670" y="81077"/>
                  <a:pt x="280518" y="0"/>
                  <a:pt x="180835" y="0"/>
                </a:cubicBezTo>
                <a:close/>
                <a:moveTo>
                  <a:pt x="244735" y="180667"/>
                </a:moveTo>
                <a:cubicBezTo>
                  <a:pt x="244735" y="176836"/>
                  <a:pt x="247291" y="174283"/>
                  <a:pt x="251124" y="174283"/>
                </a:cubicBezTo>
                <a:cubicBezTo>
                  <a:pt x="254958" y="174283"/>
                  <a:pt x="257514" y="176836"/>
                  <a:pt x="257514" y="180667"/>
                </a:cubicBezTo>
                <a:lnTo>
                  <a:pt x="257514" y="222801"/>
                </a:lnTo>
                <a:cubicBezTo>
                  <a:pt x="257514" y="226631"/>
                  <a:pt x="254958" y="229185"/>
                  <a:pt x="251124" y="229185"/>
                </a:cubicBezTo>
                <a:cubicBezTo>
                  <a:pt x="247291" y="229185"/>
                  <a:pt x="244735" y="226631"/>
                  <a:pt x="244735" y="222801"/>
                </a:cubicBezTo>
                <a:lnTo>
                  <a:pt x="244735" y="180667"/>
                </a:lnTo>
                <a:close/>
                <a:moveTo>
                  <a:pt x="216619" y="125126"/>
                </a:moveTo>
                <a:cubicBezTo>
                  <a:pt x="216619" y="121296"/>
                  <a:pt x="219175" y="118742"/>
                  <a:pt x="223009" y="118742"/>
                </a:cubicBezTo>
                <a:cubicBezTo>
                  <a:pt x="226843" y="118742"/>
                  <a:pt x="229399" y="121296"/>
                  <a:pt x="229399" y="125126"/>
                </a:cubicBezTo>
                <a:lnTo>
                  <a:pt x="229399" y="223439"/>
                </a:lnTo>
                <a:cubicBezTo>
                  <a:pt x="229399" y="227270"/>
                  <a:pt x="226843" y="229823"/>
                  <a:pt x="223009" y="229823"/>
                </a:cubicBezTo>
                <a:cubicBezTo>
                  <a:pt x="219175" y="229823"/>
                  <a:pt x="216619" y="227270"/>
                  <a:pt x="216619" y="223439"/>
                </a:cubicBezTo>
                <a:lnTo>
                  <a:pt x="216619" y="125126"/>
                </a:lnTo>
                <a:close/>
                <a:moveTo>
                  <a:pt x="188503" y="146193"/>
                </a:moveTo>
                <a:cubicBezTo>
                  <a:pt x="188503" y="142363"/>
                  <a:pt x="191059" y="139809"/>
                  <a:pt x="194893" y="139809"/>
                </a:cubicBezTo>
                <a:cubicBezTo>
                  <a:pt x="198727" y="139809"/>
                  <a:pt x="201283" y="142363"/>
                  <a:pt x="201283" y="146193"/>
                </a:cubicBezTo>
                <a:lnTo>
                  <a:pt x="201283" y="223439"/>
                </a:lnTo>
                <a:cubicBezTo>
                  <a:pt x="201283" y="227270"/>
                  <a:pt x="198727" y="229823"/>
                  <a:pt x="194893" y="229823"/>
                </a:cubicBezTo>
                <a:cubicBezTo>
                  <a:pt x="191059" y="229823"/>
                  <a:pt x="188503" y="227270"/>
                  <a:pt x="188503" y="223439"/>
                </a:cubicBezTo>
                <a:lnTo>
                  <a:pt x="188503" y="146193"/>
                </a:lnTo>
                <a:close/>
                <a:moveTo>
                  <a:pt x="160387" y="111081"/>
                </a:moveTo>
                <a:cubicBezTo>
                  <a:pt x="160387" y="107251"/>
                  <a:pt x="162943" y="104697"/>
                  <a:pt x="166777" y="104697"/>
                </a:cubicBezTo>
                <a:cubicBezTo>
                  <a:pt x="170611" y="104697"/>
                  <a:pt x="173167" y="107251"/>
                  <a:pt x="173167" y="111081"/>
                </a:cubicBezTo>
                <a:lnTo>
                  <a:pt x="173167" y="223439"/>
                </a:lnTo>
                <a:cubicBezTo>
                  <a:pt x="173167" y="227270"/>
                  <a:pt x="170611" y="229823"/>
                  <a:pt x="166777" y="229823"/>
                </a:cubicBezTo>
                <a:cubicBezTo>
                  <a:pt x="162943" y="229823"/>
                  <a:pt x="160387" y="227270"/>
                  <a:pt x="160387" y="223439"/>
                </a:cubicBezTo>
                <a:lnTo>
                  <a:pt x="160387" y="111081"/>
                </a:lnTo>
                <a:close/>
                <a:moveTo>
                  <a:pt x="132272" y="173644"/>
                </a:moveTo>
                <a:cubicBezTo>
                  <a:pt x="132272" y="169814"/>
                  <a:pt x="134828" y="167260"/>
                  <a:pt x="138662" y="167260"/>
                </a:cubicBezTo>
                <a:cubicBezTo>
                  <a:pt x="142496" y="167260"/>
                  <a:pt x="145052" y="169814"/>
                  <a:pt x="145052" y="173644"/>
                </a:cubicBezTo>
                <a:lnTo>
                  <a:pt x="145052" y="222801"/>
                </a:lnTo>
                <a:cubicBezTo>
                  <a:pt x="145052" y="226631"/>
                  <a:pt x="142496" y="229185"/>
                  <a:pt x="138662" y="229185"/>
                </a:cubicBezTo>
                <a:cubicBezTo>
                  <a:pt x="134828" y="229185"/>
                  <a:pt x="132272" y="226631"/>
                  <a:pt x="132272" y="222801"/>
                </a:cubicBezTo>
                <a:lnTo>
                  <a:pt x="132272" y="173644"/>
                </a:lnTo>
                <a:close/>
                <a:moveTo>
                  <a:pt x="104156" y="194711"/>
                </a:moveTo>
                <a:cubicBezTo>
                  <a:pt x="104156" y="190881"/>
                  <a:pt x="106712" y="188327"/>
                  <a:pt x="110546" y="188327"/>
                </a:cubicBezTo>
                <a:cubicBezTo>
                  <a:pt x="114380" y="188327"/>
                  <a:pt x="116936" y="190881"/>
                  <a:pt x="116936" y="194711"/>
                </a:cubicBezTo>
                <a:lnTo>
                  <a:pt x="116936" y="222801"/>
                </a:lnTo>
                <a:cubicBezTo>
                  <a:pt x="116936" y="226631"/>
                  <a:pt x="114380" y="229185"/>
                  <a:pt x="110546" y="229185"/>
                </a:cubicBezTo>
                <a:cubicBezTo>
                  <a:pt x="106712" y="229185"/>
                  <a:pt x="104156" y="226631"/>
                  <a:pt x="104156" y="222801"/>
                </a:cubicBezTo>
                <a:lnTo>
                  <a:pt x="104156" y="194711"/>
                </a:lnTo>
                <a:close/>
                <a:moveTo>
                  <a:pt x="279240" y="257275"/>
                </a:moveTo>
                <a:lnTo>
                  <a:pt x="83069" y="257275"/>
                </a:lnTo>
                <a:cubicBezTo>
                  <a:pt x="79235" y="257275"/>
                  <a:pt x="76679" y="254721"/>
                  <a:pt x="76679" y="250891"/>
                </a:cubicBezTo>
                <a:lnTo>
                  <a:pt x="76679" y="111081"/>
                </a:lnTo>
                <a:cubicBezTo>
                  <a:pt x="76679" y="107251"/>
                  <a:pt x="79235" y="104697"/>
                  <a:pt x="83069" y="104697"/>
                </a:cubicBezTo>
                <a:cubicBezTo>
                  <a:pt x="86903" y="104697"/>
                  <a:pt x="89459" y="107251"/>
                  <a:pt x="89459" y="111081"/>
                </a:cubicBezTo>
                <a:lnTo>
                  <a:pt x="89459" y="244507"/>
                </a:lnTo>
                <a:lnTo>
                  <a:pt x="279240" y="244507"/>
                </a:lnTo>
                <a:cubicBezTo>
                  <a:pt x="283074" y="244507"/>
                  <a:pt x="285630" y="247060"/>
                  <a:pt x="285630" y="250891"/>
                </a:cubicBezTo>
                <a:cubicBezTo>
                  <a:pt x="285630" y="254721"/>
                  <a:pt x="282435" y="257275"/>
                  <a:pt x="279240" y="257275"/>
                </a:cubicBezTo>
                <a:close/>
              </a:path>
            </a:pathLst>
          </a:custGeom>
          <a:solidFill>
            <a:schemeClr val="accent2"/>
          </a:solidFill>
          <a:ln w="639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50" name="Graphic 4">
            <a:extLst>
              <a:ext uri="{FF2B5EF4-FFF2-40B4-BE49-F238E27FC236}">
                <a16:creationId xmlns:a16="http://schemas.microsoft.com/office/drawing/2014/main" id="{690DCC7A-68A2-8E42-BF14-13E7597926B0}"/>
              </a:ext>
            </a:extLst>
          </p:cNvPr>
          <p:cNvGrpSpPr>
            <a:grpSpLocks noChangeAspect="1"/>
          </p:cNvGrpSpPr>
          <p:nvPr/>
        </p:nvGrpSpPr>
        <p:grpSpPr>
          <a:xfrm>
            <a:off x="3237161" y="5665273"/>
            <a:ext cx="763531" cy="762038"/>
            <a:chOff x="905454" y="2855717"/>
            <a:chExt cx="362309" cy="361971"/>
          </a:xfrm>
          <a:solidFill>
            <a:srgbClr val="007680"/>
          </a:solidFill>
        </p:grpSpPr>
        <p:sp>
          <p:nvSpPr>
            <p:cNvPr id="51" name="Graphic 4">
              <a:extLst>
                <a:ext uri="{FF2B5EF4-FFF2-40B4-BE49-F238E27FC236}">
                  <a16:creationId xmlns:a16="http://schemas.microsoft.com/office/drawing/2014/main" id="{2C94AECD-BA52-904C-9B83-EE9F9F32E52E}"/>
                </a:ext>
              </a:extLst>
            </p:cNvPr>
            <p:cNvSpPr/>
            <p:nvPr/>
          </p:nvSpPr>
          <p:spPr>
            <a:xfrm>
              <a:off x="1012165" y="2998719"/>
              <a:ext cx="90098" cy="134063"/>
            </a:xfrm>
            <a:custGeom>
              <a:avLst/>
              <a:gdLst>
                <a:gd name="connsiteX0" fmla="*/ 0 w 90098"/>
                <a:gd name="connsiteY0" fmla="*/ 134064 h 134063"/>
                <a:gd name="connsiteX1" fmla="*/ 90098 w 90098"/>
                <a:gd name="connsiteY1" fmla="*/ 134064 h 134063"/>
                <a:gd name="connsiteX2" fmla="*/ 90098 w 90098"/>
                <a:gd name="connsiteY2" fmla="*/ 0 h 134063"/>
                <a:gd name="connsiteX3" fmla="*/ 0 w 90098"/>
                <a:gd name="connsiteY3" fmla="*/ 0 h 134063"/>
                <a:gd name="connsiteX4" fmla="*/ 0 w 90098"/>
                <a:gd name="connsiteY4" fmla="*/ 134064 h 134063"/>
                <a:gd name="connsiteX5" fmla="*/ 15975 w 90098"/>
                <a:gd name="connsiteY5" fmla="*/ 16598 h 134063"/>
                <a:gd name="connsiteX6" fmla="*/ 74123 w 90098"/>
                <a:gd name="connsiteY6" fmla="*/ 16598 h 134063"/>
                <a:gd name="connsiteX7" fmla="*/ 80513 w 90098"/>
                <a:gd name="connsiteY7" fmla="*/ 22982 h 134063"/>
                <a:gd name="connsiteX8" fmla="*/ 74123 w 90098"/>
                <a:gd name="connsiteY8" fmla="*/ 29366 h 134063"/>
                <a:gd name="connsiteX9" fmla="*/ 15336 w 90098"/>
                <a:gd name="connsiteY9" fmla="*/ 29366 h 134063"/>
                <a:gd name="connsiteX10" fmla="*/ 8946 w 90098"/>
                <a:gd name="connsiteY10" fmla="*/ 22982 h 134063"/>
                <a:gd name="connsiteX11" fmla="*/ 15975 w 90098"/>
                <a:gd name="connsiteY11" fmla="*/ 16598 h 134063"/>
                <a:gd name="connsiteX12" fmla="*/ 15975 w 90098"/>
                <a:gd name="connsiteY12" fmla="*/ 16598 h 134063"/>
                <a:gd name="connsiteX13" fmla="*/ 15975 w 90098"/>
                <a:gd name="connsiteY13" fmla="*/ 45965 h 134063"/>
                <a:gd name="connsiteX14" fmla="*/ 74123 w 90098"/>
                <a:gd name="connsiteY14" fmla="*/ 45965 h 134063"/>
                <a:gd name="connsiteX15" fmla="*/ 80513 w 90098"/>
                <a:gd name="connsiteY15" fmla="*/ 52349 h 134063"/>
                <a:gd name="connsiteX16" fmla="*/ 74123 w 90098"/>
                <a:gd name="connsiteY16" fmla="*/ 58733 h 134063"/>
                <a:gd name="connsiteX17" fmla="*/ 15336 w 90098"/>
                <a:gd name="connsiteY17" fmla="*/ 58733 h 134063"/>
                <a:gd name="connsiteX18" fmla="*/ 8946 w 90098"/>
                <a:gd name="connsiteY18" fmla="*/ 52349 h 134063"/>
                <a:gd name="connsiteX19" fmla="*/ 15975 w 90098"/>
                <a:gd name="connsiteY19" fmla="*/ 45965 h 134063"/>
                <a:gd name="connsiteX20" fmla="*/ 15975 w 90098"/>
                <a:gd name="connsiteY20" fmla="*/ 45965 h 134063"/>
                <a:gd name="connsiteX21" fmla="*/ 15975 w 90098"/>
                <a:gd name="connsiteY21" fmla="*/ 75331 h 134063"/>
                <a:gd name="connsiteX22" fmla="*/ 74123 w 90098"/>
                <a:gd name="connsiteY22" fmla="*/ 75331 h 134063"/>
                <a:gd name="connsiteX23" fmla="*/ 80513 w 90098"/>
                <a:gd name="connsiteY23" fmla="*/ 81715 h 134063"/>
                <a:gd name="connsiteX24" fmla="*/ 74123 w 90098"/>
                <a:gd name="connsiteY24" fmla="*/ 88099 h 134063"/>
                <a:gd name="connsiteX25" fmla="*/ 15336 w 90098"/>
                <a:gd name="connsiteY25" fmla="*/ 88099 h 134063"/>
                <a:gd name="connsiteX26" fmla="*/ 8946 w 90098"/>
                <a:gd name="connsiteY26" fmla="*/ 81715 h 134063"/>
                <a:gd name="connsiteX27" fmla="*/ 15975 w 90098"/>
                <a:gd name="connsiteY27" fmla="*/ 75331 h 134063"/>
                <a:gd name="connsiteX28" fmla="*/ 15975 w 90098"/>
                <a:gd name="connsiteY28" fmla="*/ 75331 h 134063"/>
                <a:gd name="connsiteX29" fmla="*/ 15975 w 90098"/>
                <a:gd name="connsiteY29" fmla="*/ 104697 h 134063"/>
                <a:gd name="connsiteX30" fmla="*/ 74123 w 90098"/>
                <a:gd name="connsiteY30" fmla="*/ 104697 h 134063"/>
                <a:gd name="connsiteX31" fmla="*/ 80513 w 90098"/>
                <a:gd name="connsiteY31" fmla="*/ 111081 h 134063"/>
                <a:gd name="connsiteX32" fmla="*/ 74123 w 90098"/>
                <a:gd name="connsiteY32" fmla="*/ 117465 h 134063"/>
                <a:gd name="connsiteX33" fmla="*/ 15336 w 90098"/>
                <a:gd name="connsiteY33" fmla="*/ 117465 h 134063"/>
                <a:gd name="connsiteX34" fmla="*/ 8946 w 90098"/>
                <a:gd name="connsiteY34" fmla="*/ 111081 h 134063"/>
                <a:gd name="connsiteX35" fmla="*/ 15975 w 90098"/>
                <a:gd name="connsiteY35" fmla="*/ 104697 h 134063"/>
                <a:gd name="connsiteX36" fmla="*/ 15975 w 90098"/>
                <a:gd name="connsiteY36" fmla="*/ 104697 h 134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90098" h="134063">
                  <a:moveTo>
                    <a:pt x="0" y="134064"/>
                  </a:moveTo>
                  <a:lnTo>
                    <a:pt x="90098" y="134064"/>
                  </a:lnTo>
                  <a:lnTo>
                    <a:pt x="90098" y="0"/>
                  </a:lnTo>
                  <a:lnTo>
                    <a:pt x="0" y="0"/>
                  </a:lnTo>
                  <a:lnTo>
                    <a:pt x="0" y="134064"/>
                  </a:lnTo>
                  <a:close/>
                  <a:moveTo>
                    <a:pt x="15975" y="16598"/>
                  </a:moveTo>
                  <a:lnTo>
                    <a:pt x="74123" y="16598"/>
                  </a:lnTo>
                  <a:cubicBezTo>
                    <a:pt x="77957" y="16598"/>
                    <a:pt x="80513" y="19152"/>
                    <a:pt x="80513" y="22982"/>
                  </a:cubicBezTo>
                  <a:cubicBezTo>
                    <a:pt x="80513" y="26813"/>
                    <a:pt x="77957" y="29366"/>
                    <a:pt x="74123" y="29366"/>
                  </a:cubicBezTo>
                  <a:lnTo>
                    <a:pt x="15336" y="29366"/>
                  </a:lnTo>
                  <a:cubicBezTo>
                    <a:pt x="11502" y="29366"/>
                    <a:pt x="8946" y="26813"/>
                    <a:pt x="8946" y="22982"/>
                  </a:cubicBezTo>
                  <a:cubicBezTo>
                    <a:pt x="8946" y="19152"/>
                    <a:pt x="12141" y="16598"/>
                    <a:pt x="15975" y="16598"/>
                  </a:cubicBezTo>
                  <a:lnTo>
                    <a:pt x="15975" y="16598"/>
                  </a:lnTo>
                  <a:close/>
                  <a:moveTo>
                    <a:pt x="15975" y="45965"/>
                  </a:moveTo>
                  <a:lnTo>
                    <a:pt x="74123" y="45965"/>
                  </a:lnTo>
                  <a:cubicBezTo>
                    <a:pt x="77957" y="45965"/>
                    <a:pt x="80513" y="48518"/>
                    <a:pt x="80513" y="52349"/>
                  </a:cubicBezTo>
                  <a:cubicBezTo>
                    <a:pt x="80513" y="56179"/>
                    <a:pt x="77957" y="58733"/>
                    <a:pt x="74123" y="58733"/>
                  </a:cubicBezTo>
                  <a:lnTo>
                    <a:pt x="15336" y="58733"/>
                  </a:lnTo>
                  <a:cubicBezTo>
                    <a:pt x="11502" y="58733"/>
                    <a:pt x="8946" y="56179"/>
                    <a:pt x="8946" y="52349"/>
                  </a:cubicBezTo>
                  <a:cubicBezTo>
                    <a:pt x="8946" y="48518"/>
                    <a:pt x="12141" y="45965"/>
                    <a:pt x="15975" y="45965"/>
                  </a:cubicBezTo>
                  <a:lnTo>
                    <a:pt x="15975" y="45965"/>
                  </a:lnTo>
                  <a:close/>
                  <a:moveTo>
                    <a:pt x="15975" y="75331"/>
                  </a:moveTo>
                  <a:lnTo>
                    <a:pt x="74123" y="75331"/>
                  </a:lnTo>
                  <a:cubicBezTo>
                    <a:pt x="77957" y="75331"/>
                    <a:pt x="80513" y="77884"/>
                    <a:pt x="80513" y="81715"/>
                  </a:cubicBezTo>
                  <a:cubicBezTo>
                    <a:pt x="80513" y="85545"/>
                    <a:pt x="77957" y="88099"/>
                    <a:pt x="74123" y="88099"/>
                  </a:cubicBezTo>
                  <a:lnTo>
                    <a:pt x="15336" y="88099"/>
                  </a:lnTo>
                  <a:cubicBezTo>
                    <a:pt x="11502" y="88099"/>
                    <a:pt x="8946" y="85545"/>
                    <a:pt x="8946" y="81715"/>
                  </a:cubicBezTo>
                  <a:cubicBezTo>
                    <a:pt x="8946" y="77884"/>
                    <a:pt x="12141" y="75331"/>
                    <a:pt x="15975" y="75331"/>
                  </a:cubicBezTo>
                  <a:lnTo>
                    <a:pt x="15975" y="75331"/>
                  </a:lnTo>
                  <a:close/>
                  <a:moveTo>
                    <a:pt x="15975" y="104697"/>
                  </a:moveTo>
                  <a:lnTo>
                    <a:pt x="74123" y="104697"/>
                  </a:lnTo>
                  <a:cubicBezTo>
                    <a:pt x="77957" y="104697"/>
                    <a:pt x="80513" y="107251"/>
                    <a:pt x="80513" y="111081"/>
                  </a:cubicBezTo>
                  <a:cubicBezTo>
                    <a:pt x="80513" y="114912"/>
                    <a:pt x="77957" y="117465"/>
                    <a:pt x="74123" y="117465"/>
                  </a:cubicBezTo>
                  <a:lnTo>
                    <a:pt x="15336" y="117465"/>
                  </a:lnTo>
                  <a:cubicBezTo>
                    <a:pt x="11502" y="117465"/>
                    <a:pt x="8946" y="114912"/>
                    <a:pt x="8946" y="111081"/>
                  </a:cubicBezTo>
                  <a:cubicBezTo>
                    <a:pt x="8946" y="107251"/>
                    <a:pt x="12141" y="104697"/>
                    <a:pt x="15975" y="104697"/>
                  </a:cubicBezTo>
                  <a:lnTo>
                    <a:pt x="15975" y="104697"/>
                  </a:lnTo>
                  <a:close/>
                </a:path>
              </a:pathLst>
            </a:custGeom>
            <a:solidFill>
              <a:srgbClr val="007680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Graphic 4">
              <a:extLst>
                <a:ext uri="{FF2B5EF4-FFF2-40B4-BE49-F238E27FC236}">
                  <a16:creationId xmlns:a16="http://schemas.microsoft.com/office/drawing/2014/main" id="{4F8459C3-FE9F-474F-BFFA-A3C78B8447B4}"/>
                </a:ext>
              </a:extLst>
            </p:cNvPr>
            <p:cNvSpPr/>
            <p:nvPr/>
          </p:nvSpPr>
          <p:spPr>
            <a:xfrm>
              <a:off x="905454" y="2855717"/>
              <a:ext cx="362309" cy="361971"/>
            </a:xfrm>
            <a:custGeom>
              <a:avLst/>
              <a:gdLst>
                <a:gd name="connsiteX0" fmla="*/ 180835 w 362309"/>
                <a:gd name="connsiteY0" fmla="*/ 0 h 361971"/>
                <a:gd name="connsiteX1" fmla="*/ 0 w 362309"/>
                <a:gd name="connsiteY1" fmla="*/ 181305 h 361971"/>
                <a:gd name="connsiteX2" fmla="*/ 181474 w 362309"/>
                <a:gd name="connsiteY2" fmla="*/ 361972 h 361971"/>
                <a:gd name="connsiteX3" fmla="*/ 362309 w 362309"/>
                <a:gd name="connsiteY3" fmla="*/ 180667 h 361971"/>
                <a:gd name="connsiteX4" fmla="*/ 180835 w 362309"/>
                <a:gd name="connsiteY4" fmla="*/ 0 h 361971"/>
                <a:gd name="connsiteX5" fmla="*/ 180835 w 362309"/>
                <a:gd name="connsiteY5" fmla="*/ 0 h 361971"/>
                <a:gd name="connsiteX6" fmla="*/ 208951 w 362309"/>
                <a:gd name="connsiteY6" fmla="*/ 283449 h 361971"/>
                <a:gd name="connsiteX7" fmla="*/ 202561 w 362309"/>
                <a:gd name="connsiteY7" fmla="*/ 289833 h 361971"/>
                <a:gd name="connsiteX8" fmla="*/ 100322 w 362309"/>
                <a:gd name="connsiteY8" fmla="*/ 289833 h 361971"/>
                <a:gd name="connsiteX9" fmla="*/ 93932 w 362309"/>
                <a:gd name="connsiteY9" fmla="*/ 283449 h 361971"/>
                <a:gd name="connsiteX10" fmla="*/ 93932 w 362309"/>
                <a:gd name="connsiteY10" fmla="*/ 136617 h 361971"/>
                <a:gd name="connsiteX11" fmla="*/ 100322 w 362309"/>
                <a:gd name="connsiteY11" fmla="*/ 130233 h 361971"/>
                <a:gd name="connsiteX12" fmla="*/ 203200 w 362309"/>
                <a:gd name="connsiteY12" fmla="*/ 130233 h 361971"/>
                <a:gd name="connsiteX13" fmla="*/ 209590 w 362309"/>
                <a:gd name="connsiteY13" fmla="*/ 136617 h 361971"/>
                <a:gd name="connsiteX14" fmla="*/ 208951 w 362309"/>
                <a:gd name="connsiteY14" fmla="*/ 283449 h 361971"/>
                <a:gd name="connsiteX15" fmla="*/ 238345 w 362309"/>
                <a:gd name="connsiteY15" fmla="*/ 254082 h 361971"/>
                <a:gd name="connsiteX16" fmla="*/ 231955 w 362309"/>
                <a:gd name="connsiteY16" fmla="*/ 260466 h 361971"/>
                <a:gd name="connsiteX17" fmla="*/ 225565 w 362309"/>
                <a:gd name="connsiteY17" fmla="*/ 254082 h 361971"/>
                <a:gd name="connsiteX18" fmla="*/ 225565 w 362309"/>
                <a:gd name="connsiteY18" fmla="*/ 113635 h 361971"/>
                <a:gd name="connsiteX19" fmla="*/ 129716 w 362309"/>
                <a:gd name="connsiteY19" fmla="*/ 113635 h 361971"/>
                <a:gd name="connsiteX20" fmla="*/ 123326 w 362309"/>
                <a:gd name="connsiteY20" fmla="*/ 107251 h 361971"/>
                <a:gd name="connsiteX21" fmla="*/ 129716 w 362309"/>
                <a:gd name="connsiteY21" fmla="*/ 100867 h 361971"/>
                <a:gd name="connsiteX22" fmla="*/ 232594 w 362309"/>
                <a:gd name="connsiteY22" fmla="*/ 100867 h 361971"/>
                <a:gd name="connsiteX23" fmla="*/ 238984 w 362309"/>
                <a:gd name="connsiteY23" fmla="*/ 107251 h 361971"/>
                <a:gd name="connsiteX24" fmla="*/ 238345 w 362309"/>
                <a:gd name="connsiteY24" fmla="*/ 254082 h 361971"/>
                <a:gd name="connsiteX25" fmla="*/ 267738 w 362309"/>
                <a:gd name="connsiteY25" fmla="*/ 224716 h 361971"/>
                <a:gd name="connsiteX26" fmla="*/ 261348 w 362309"/>
                <a:gd name="connsiteY26" fmla="*/ 231100 h 361971"/>
                <a:gd name="connsiteX27" fmla="*/ 254959 w 362309"/>
                <a:gd name="connsiteY27" fmla="*/ 224716 h 361971"/>
                <a:gd name="connsiteX28" fmla="*/ 254959 w 362309"/>
                <a:gd name="connsiteY28" fmla="*/ 84268 h 361971"/>
                <a:gd name="connsiteX29" fmla="*/ 159110 w 362309"/>
                <a:gd name="connsiteY29" fmla="*/ 84268 h 361971"/>
                <a:gd name="connsiteX30" fmla="*/ 152720 w 362309"/>
                <a:gd name="connsiteY30" fmla="*/ 77884 h 361971"/>
                <a:gd name="connsiteX31" fmla="*/ 159110 w 362309"/>
                <a:gd name="connsiteY31" fmla="*/ 71500 h 361971"/>
                <a:gd name="connsiteX32" fmla="*/ 261987 w 362309"/>
                <a:gd name="connsiteY32" fmla="*/ 71500 h 361971"/>
                <a:gd name="connsiteX33" fmla="*/ 268377 w 362309"/>
                <a:gd name="connsiteY33" fmla="*/ 77884 h 361971"/>
                <a:gd name="connsiteX34" fmla="*/ 267738 w 362309"/>
                <a:gd name="connsiteY34" fmla="*/ 224716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362309" h="361971">
                  <a:moveTo>
                    <a:pt x="180835" y="0"/>
                  </a:moveTo>
                  <a:cubicBezTo>
                    <a:pt x="80513" y="0"/>
                    <a:pt x="0" y="81076"/>
                    <a:pt x="0" y="181305"/>
                  </a:cubicBezTo>
                  <a:cubicBezTo>
                    <a:pt x="0" y="281533"/>
                    <a:pt x="81152" y="361972"/>
                    <a:pt x="181474" y="361972"/>
                  </a:cubicBezTo>
                  <a:cubicBezTo>
                    <a:pt x="281157" y="361972"/>
                    <a:pt x="362309" y="280895"/>
                    <a:pt x="362309" y="180667"/>
                  </a:cubicBezTo>
                  <a:cubicBezTo>
                    <a:pt x="362309" y="80438"/>
                    <a:pt x="281157" y="0"/>
                    <a:pt x="180835" y="0"/>
                  </a:cubicBezTo>
                  <a:cubicBezTo>
                    <a:pt x="180835" y="0"/>
                    <a:pt x="180835" y="0"/>
                    <a:pt x="180835" y="0"/>
                  </a:cubicBezTo>
                  <a:close/>
                  <a:moveTo>
                    <a:pt x="208951" y="283449"/>
                  </a:moveTo>
                  <a:cubicBezTo>
                    <a:pt x="208951" y="287279"/>
                    <a:pt x="206395" y="289833"/>
                    <a:pt x="202561" y="289833"/>
                  </a:cubicBezTo>
                  <a:lnTo>
                    <a:pt x="100322" y="289833"/>
                  </a:lnTo>
                  <a:cubicBezTo>
                    <a:pt x="96488" y="289833"/>
                    <a:pt x="93932" y="287279"/>
                    <a:pt x="93932" y="283449"/>
                  </a:cubicBezTo>
                  <a:lnTo>
                    <a:pt x="93932" y="136617"/>
                  </a:lnTo>
                  <a:cubicBezTo>
                    <a:pt x="93932" y="132787"/>
                    <a:pt x="96488" y="130233"/>
                    <a:pt x="100322" y="130233"/>
                  </a:cubicBezTo>
                  <a:lnTo>
                    <a:pt x="203200" y="130233"/>
                  </a:lnTo>
                  <a:cubicBezTo>
                    <a:pt x="207034" y="130233"/>
                    <a:pt x="209590" y="132787"/>
                    <a:pt x="209590" y="136617"/>
                  </a:cubicBezTo>
                  <a:lnTo>
                    <a:pt x="208951" y="283449"/>
                  </a:lnTo>
                  <a:close/>
                  <a:moveTo>
                    <a:pt x="238345" y="254082"/>
                  </a:moveTo>
                  <a:cubicBezTo>
                    <a:pt x="238345" y="257913"/>
                    <a:pt x="235789" y="260466"/>
                    <a:pt x="231955" y="260466"/>
                  </a:cubicBezTo>
                  <a:cubicBezTo>
                    <a:pt x="228121" y="260466"/>
                    <a:pt x="225565" y="257913"/>
                    <a:pt x="225565" y="254082"/>
                  </a:cubicBezTo>
                  <a:lnTo>
                    <a:pt x="225565" y="113635"/>
                  </a:lnTo>
                  <a:lnTo>
                    <a:pt x="129716" y="113635"/>
                  </a:lnTo>
                  <a:cubicBezTo>
                    <a:pt x="125882" y="113635"/>
                    <a:pt x="123326" y="111081"/>
                    <a:pt x="123326" y="107251"/>
                  </a:cubicBezTo>
                  <a:cubicBezTo>
                    <a:pt x="123326" y="103420"/>
                    <a:pt x="125882" y="100867"/>
                    <a:pt x="129716" y="100867"/>
                  </a:cubicBezTo>
                  <a:lnTo>
                    <a:pt x="232594" y="100867"/>
                  </a:lnTo>
                  <a:cubicBezTo>
                    <a:pt x="236428" y="100867"/>
                    <a:pt x="238984" y="103420"/>
                    <a:pt x="238984" y="107251"/>
                  </a:cubicBezTo>
                  <a:lnTo>
                    <a:pt x="238345" y="254082"/>
                  </a:lnTo>
                  <a:close/>
                  <a:moveTo>
                    <a:pt x="267738" y="224716"/>
                  </a:moveTo>
                  <a:cubicBezTo>
                    <a:pt x="267738" y="228546"/>
                    <a:pt x="265182" y="231100"/>
                    <a:pt x="261348" y="231100"/>
                  </a:cubicBezTo>
                  <a:cubicBezTo>
                    <a:pt x="257514" y="231100"/>
                    <a:pt x="254959" y="228546"/>
                    <a:pt x="254959" y="224716"/>
                  </a:cubicBezTo>
                  <a:lnTo>
                    <a:pt x="254959" y="84268"/>
                  </a:lnTo>
                  <a:lnTo>
                    <a:pt x="159110" y="84268"/>
                  </a:lnTo>
                  <a:cubicBezTo>
                    <a:pt x="155275" y="84268"/>
                    <a:pt x="152720" y="81715"/>
                    <a:pt x="152720" y="77884"/>
                  </a:cubicBezTo>
                  <a:cubicBezTo>
                    <a:pt x="152720" y="74054"/>
                    <a:pt x="155275" y="71500"/>
                    <a:pt x="159110" y="71500"/>
                  </a:cubicBezTo>
                  <a:lnTo>
                    <a:pt x="261987" y="71500"/>
                  </a:lnTo>
                  <a:cubicBezTo>
                    <a:pt x="265821" y="71500"/>
                    <a:pt x="268377" y="74054"/>
                    <a:pt x="268377" y="77884"/>
                  </a:cubicBezTo>
                  <a:lnTo>
                    <a:pt x="267738" y="224716"/>
                  </a:lnTo>
                  <a:close/>
                </a:path>
              </a:pathLst>
            </a:custGeom>
            <a:solidFill>
              <a:srgbClr val="007680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4" name="Rectangle 53"/>
          <p:cNvSpPr/>
          <p:nvPr/>
        </p:nvSpPr>
        <p:spPr>
          <a:xfrm>
            <a:off x="7600673" y="6033052"/>
            <a:ext cx="2398092" cy="741230"/>
          </a:xfrm>
          <a:prstGeom prst="rect">
            <a:avLst/>
          </a:prstGeom>
          <a:noFill/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88084453"/>
              </p:ext>
            </p:extLst>
          </p:nvPr>
        </p:nvGraphicFramePr>
        <p:xfrm>
          <a:off x="8398112" y="6170622"/>
          <a:ext cx="914400" cy="806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3" name="Worksheet" showAsIcon="1" r:id="rId5" imgW="914400" imgH="806400" progId="Excel.Sheet.12">
                  <p:embed/>
                </p:oleObj>
              </mc:Choice>
              <mc:Fallback>
                <p:oleObj name="Worksheet" showAsIcon="1" r:id="rId5" imgW="914400" imgH="8064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8398112" y="6170622"/>
                        <a:ext cx="914400" cy="8064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99478660"/>
              </p:ext>
            </p:extLst>
          </p:nvPr>
        </p:nvGraphicFramePr>
        <p:xfrm>
          <a:off x="7531656" y="6157734"/>
          <a:ext cx="914400" cy="806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Document" showAsIcon="1" r:id="rId7" imgW="914400" imgH="806400" progId="Word.Document.12">
                  <p:embed/>
                </p:oleObj>
              </mc:Choice>
              <mc:Fallback>
                <p:oleObj name="Document" showAsIcon="1" r:id="rId7" imgW="914400" imgH="80640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7531656" y="6157734"/>
                        <a:ext cx="914400" cy="8064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11142305"/>
              </p:ext>
            </p:extLst>
          </p:nvPr>
        </p:nvGraphicFramePr>
        <p:xfrm>
          <a:off x="9195551" y="6155204"/>
          <a:ext cx="914400" cy="806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5" name="Worksheet" showAsIcon="1" r:id="rId9" imgW="914400" imgH="806400" progId="Excel.Sheet.8">
                  <p:embed/>
                </p:oleObj>
              </mc:Choice>
              <mc:Fallback>
                <p:oleObj name="Worksheet" showAsIcon="1" r:id="rId9" imgW="914400" imgH="806400" progId="Excel.Sheet.8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9195551" y="6155204"/>
                        <a:ext cx="914400" cy="8064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904134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 Title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 Deloitte_16_9_Onscreen_Dynamic" id="{233224E4-B556-DB4A-BB5F-456AD962D47A}" vid="{3834B3A5-31E6-5443-99E3-BA98721EC38B}"/>
    </a:ext>
  </a:extLst>
</a:theme>
</file>

<file path=ppt/theme/theme2.xml><?xml version="1.0" encoding="utf-8"?>
<a:theme xmlns:a="http://schemas.openxmlformats.org/drawingml/2006/main" name="2 Slides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 Deloitte_16_9_Onscreen_Dynamic" id="{233224E4-B556-DB4A-BB5F-456AD962D47A}" vid="{EEF797E3-93FD-3144-B017-07C87BDCB7B9}"/>
    </a:ext>
  </a:extLst>
</a:theme>
</file>

<file path=ppt/theme/theme3.xml><?xml version="1.0" encoding="utf-8"?>
<a:theme xmlns:a="http://schemas.openxmlformats.org/drawingml/2006/main" name="1_2 Slides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 Deloitte_16_9_Onscreen_Dynamic" id="{233224E4-B556-DB4A-BB5F-456AD962D47A}" vid="{EEF797E3-93FD-3144-B017-07C87BDCB7B9}"/>
    </a:ext>
  </a:extLst>
</a:theme>
</file>

<file path=ppt/theme/theme4.xml><?xml version="1.0" encoding="utf-8"?>
<a:theme xmlns:a="http://schemas.openxmlformats.org/drawingml/2006/main" name="2_2 Slides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 Deloitte_16_9_Onscreen_Dynamic" id="{233224E4-B556-DB4A-BB5F-456AD962D47A}" vid="{EEF797E3-93FD-3144-B017-07C87BDCB7B9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Deloitte colors">
    <a:dk1>
      <a:sysClr val="windowText" lastClr="000000"/>
    </a:dk1>
    <a:lt1>
      <a:sysClr val="window" lastClr="FFFFFF"/>
    </a:lt1>
    <a:dk2>
      <a:srgbClr val="53565A"/>
    </a:dk2>
    <a:lt2>
      <a:srgbClr val="D0D0CE"/>
    </a:lt2>
    <a:accent1>
      <a:srgbClr val="86BC25"/>
    </a:accent1>
    <a:accent2>
      <a:srgbClr val="046A38"/>
    </a:accent2>
    <a:accent3>
      <a:srgbClr val="62B5E5"/>
    </a:accent3>
    <a:accent4>
      <a:srgbClr val="012169"/>
    </a:accent4>
    <a:accent5>
      <a:srgbClr val="0097A9"/>
    </a:accent5>
    <a:accent6>
      <a:srgbClr val="75787B"/>
    </a:accent6>
    <a:hlink>
      <a:srgbClr val="00A3E0"/>
    </a:hlink>
    <a:folHlink>
      <a:srgbClr val="53565A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8421</TotalTime>
  <Words>847</Words>
  <Application>Microsoft Office PowerPoint</Application>
  <PresentationFormat>Widescreen</PresentationFormat>
  <Paragraphs>140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6</vt:i4>
      </vt:variant>
      <vt:variant>
        <vt:lpstr>Slide Titles</vt:lpstr>
      </vt:variant>
      <vt:variant>
        <vt:i4>10</vt:i4>
      </vt:variant>
    </vt:vector>
  </HeadingPairs>
  <TitlesOfParts>
    <vt:vector size="27" baseType="lpstr">
      <vt:lpstr>ＭＳ Ｐゴシック</vt:lpstr>
      <vt:lpstr>Arial</vt:lpstr>
      <vt:lpstr>Calibri</vt:lpstr>
      <vt:lpstr>Calibri Light</vt:lpstr>
      <vt:lpstr>Open Sans</vt:lpstr>
      <vt:lpstr>Verdana</vt:lpstr>
      <vt:lpstr>Wingdings 2</vt:lpstr>
      <vt:lpstr>1 Title</vt:lpstr>
      <vt:lpstr>2 Slides</vt:lpstr>
      <vt:lpstr>1_2 Slides</vt:lpstr>
      <vt:lpstr>2_2 Slides</vt:lpstr>
      <vt:lpstr>think-cell Slide</vt:lpstr>
      <vt:lpstr>Microsoft PowerPoint Presentation</vt:lpstr>
      <vt:lpstr>Project</vt:lpstr>
      <vt:lpstr>Packager Shell Object</vt:lpstr>
      <vt:lpstr>Document</vt:lpstr>
      <vt:lpstr>Worksheet</vt:lpstr>
      <vt:lpstr>PowerPoint Presentation</vt:lpstr>
      <vt:lpstr>Resumen Ejecutivo</vt:lpstr>
      <vt:lpstr>Contenido</vt:lpstr>
      <vt:lpstr>Enfoque Metodológico</vt:lpstr>
      <vt:lpstr>Enfoque Metodológico</vt:lpstr>
      <vt:lpstr>Preparación Inicial</vt:lpstr>
      <vt:lpstr>Business Blueprint</vt:lpstr>
      <vt:lpstr>Realización</vt:lpstr>
      <vt:lpstr>Preparación Final</vt:lpstr>
      <vt:lpstr>PowerPoint Presentation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ez, Manuel</dc:creator>
  <cp:lastModifiedBy>Amara, Jeison Leandro</cp:lastModifiedBy>
  <cp:revision>286</cp:revision>
  <dcterms:created xsi:type="dcterms:W3CDTF">2019-07-15T15:51:43Z</dcterms:created>
  <dcterms:modified xsi:type="dcterms:W3CDTF">2021-10-28T23:04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1-10-28T22:35:32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adbea244-03ea-4d62-a17e-598565656903</vt:lpwstr>
  </property>
  <property fmtid="{D5CDD505-2E9C-101B-9397-08002B2CF9AE}" pid="8" name="MSIP_Label_ea60d57e-af5b-4752-ac57-3e4f28ca11dc_ContentBits">
    <vt:lpwstr>0</vt:lpwstr>
  </property>
</Properties>
</file>